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76" r:id="rId4"/>
  </p:sldMasterIdLst>
  <p:notesMasterIdLst>
    <p:notesMasterId r:id="rId25"/>
  </p:notesMasterIdLst>
  <p:handoutMasterIdLst>
    <p:handoutMasterId r:id="rId26"/>
  </p:handoutMasterIdLst>
  <p:sldIdLst>
    <p:sldId id="682" r:id="rId5"/>
    <p:sldId id="683" r:id="rId6"/>
    <p:sldId id="684" r:id="rId7"/>
    <p:sldId id="685" r:id="rId8"/>
    <p:sldId id="686" r:id="rId9"/>
    <p:sldId id="687" r:id="rId10"/>
    <p:sldId id="688" r:id="rId11"/>
    <p:sldId id="689" r:id="rId12"/>
    <p:sldId id="692" r:id="rId13"/>
    <p:sldId id="693" r:id="rId14"/>
    <p:sldId id="694" r:id="rId15"/>
    <p:sldId id="695" r:id="rId16"/>
    <p:sldId id="696" r:id="rId17"/>
    <p:sldId id="697" r:id="rId18"/>
    <p:sldId id="698" r:id="rId19"/>
    <p:sldId id="699" r:id="rId20"/>
    <p:sldId id="700" r:id="rId21"/>
    <p:sldId id="690" r:id="rId22"/>
    <p:sldId id="701" r:id="rId23"/>
    <p:sldId id="702" r:id="rId24"/>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4E8F"/>
    <a:srgbClr val="007BA2"/>
    <a:srgbClr val="123761"/>
    <a:srgbClr val="B42359"/>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059" autoAdjust="0"/>
    <p:restoredTop sz="92090" autoAdjust="0"/>
  </p:normalViewPr>
  <p:slideViewPr>
    <p:cSldViewPr snapToGrid="0">
      <p:cViewPr varScale="1">
        <p:scale>
          <a:sx n="74" d="100"/>
          <a:sy n="74" d="100"/>
        </p:scale>
        <p:origin x="798"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3355477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8</a:t>
            </a:fld>
            <a:endParaRPr lang="en-US"/>
          </a:p>
        </p:txBody>
      </p:sp>
    </p:spTree>
    <p:extLst>
      <p:ext uri="{BB962C8B-B14F-4D97-AF65-F5344CB8AC3E}">
        <p14:creationId xmlns:p14="http://schemas.microsoft.com/office/powerpoint/2010/main" val="530286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406195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4093091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583100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3382942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3570940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103646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3318444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4086839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6</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2425" y="210629"/>
            <a:ext cx="6014441" cy="346249"/>
          </a:xfrm>
        </p:spPr>
        <p:txBody>
          <a:bodyPr/>
          <a:lstStyle/>
          <a:p>
            <a:r>
              <a:rPr lang="en-IN" dirty="0" smtClean="0"/>
              <a:t>Assertion in Selenium WebDriver</a:t>
            </a:r>
            <a:endParaRPr lang="en-IN" dirty="0"/>
          </a:p>
        </p:txBody>
      </p:sp>
      <p:sp>
        <p:nvSpPr>
          <p:cNvPr id="8" name="Rectangle 7"/>
          <p:cNvSpPr/>
          <p:nvPr/>
        </p:nvSpPr>
        <p:spPr>
          <a:xfrm>
            <a:off x="2731932" y="4114263"/>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925699" y="929292"/>
            <a:ext cx="6749708" cy="5632311"/>
          </a:xfrm>
          <a:prstGeom prst="rect">
            <a:avLst/>
          </a:prstGeom>
        </p:spPr>
        <p:txBody>
          <a:bodyPr wrap="square">
            <a:spAutoFit/>
          </a:bodyPr>
          <a:lstStyle/>
          <a:p>
            <a:r>
              <a:rPr lang="en-IN" b="1" dirty="0" smtClean="0">
                <a:solidFill>
                  <a:schemeClr val="tx2"/>
                </a:solidFill>
              </a:rPr>
              <a:t>SoftAssert in Webdriver using TestNg</a:t>
            </a:r>
          </a:p>
          <a:p>
            <a:endParaRPr lang="en-IN" b="1" dirty="0" smtClean="0">
              <a:solidFill>
                <a:schemeClr val="tx2"/>
              </a:solidFill>
            </a:endParaRPr>
          </a:p>
          <a:p>
            <a:pPr>
              <a:buFontTx/>
              <a:buChar char="-"/>
            </a:pPr>
            <a:r>
              <a:rPr lang="en-IN" i="1" dirty="0" smtClean="0">
                <a:solidFill>
                  <a:schemeClr val="tx2"/>
                </a:solidFill>
              </a:rPr>
              <a:t> F</a:t>
            </a:r>
            <a:r>
              <a:rPr lang="en-IN" dirty="0" smtClean="0">
                <a:solidFill>
                  <a:schemeClr val="tx2"/>
                </a:solidFill>
              </a:rPr>
              <a:t>ailed assertions will be reported in the </a:t>
            </a:r>
            <a:r>
              <a:rPr lang="en-IN" dirty="0" err="1" smtClean="0">
                <a:solidFill>
                  <a:schemeClr val="tx2"/>
                </a:solidFill>
              </a:rPr>
              <a:t>testNg</a:t>
            </a:r>
            <a:r>
              <a:rPr lang="en-IN" dirty="0" smtClean="0">
                <a:solidFill>
                  <a:schemeClr val="tx2"/>
                </a:solidFill>
              </a:rPr>
              <a:t> report and not making the test to abort anywhere.</a:t>
            </a:r>
          </a:p>
          <a:p>
            <a:pPr>
              <a:buFontTx/>
              <a:buChar char="-"/>
            </a:pPr>
            <a:endParaRPr lang="en-IN" i="1" dirty="0" smtClean="0">
              <a:solidFill>
                <a:schemeClr val="tx2"/>
              </a:solidFill>
            </a:endParaRPr>
          </a:p>
          <a:p>
            <a:pPr>
              <a:buFontTx/>
              <a:buChar char="-"/>
            </a:pPr>
            <a:r>
              <a:rPr lang="en-IN" dirty="0" smtClean="0">
                <a:solidFill>
                  <a:schemeClr val="tx2"/>
                </a:solidFill>
              </a:rPr>
              <a:t>SoftAssert </a:t>
            </a:r>
            <a:r>
              <a:rPr lang="en-IN" dirty="0" err="1" smtClean="0">
                <a:solidFill>
                  <a:schemeClr val="tx2"/>
                </a:solidFill>
              </a:rPr>
              <a:t>softAssert</a:t>
            </a:r>
            <a:r>
              <a:rPr lang="en-IN" dirty="0" smtClean="0">
                <a:solidFill>
                  <a:schemeClr val="tx2"/>
                </a:solidFill>
              </a:rPr>
              <a:t> = new SoftAssert();</a:t>
            </a:r>
          </a:p>
          <a:p>
            <a:pPr>
              <a:buFontTx/>
              <a:buChar char="-"/>
            </a:pPr>
            <a:endParaRPr lang="en-IN" i="1" dirty="0" smtClean="0">
              <a:solidFill>
                <a:schemeClr val="tx2"/>
              </a:solidFill>
            </a:endParaRPr>
          </a:p>
          <a:p>
            <a:r>
              <a:rPr lang="en-IN" i="1" dirty="0" smtClean="0">
                <a:solidFill>
                  <a:schemeClr val="tx2"/>
                </a:solidFill>
              </a:rPr>
              <a:t>@Test</a:t>
            </a:r>
          </a:p>
          <a:p>
            <a:r>
              <a:rPr lang="en-IN" i="1" dirty="0" smtClean="0">
                <a:solidFill>
                  <a:schemeClr val="tx2"/>
                </a:solidFill>
              </a:rPr>
              <a:t>    public void </a:t>
            </a:r>
            <a:r>
              <a:rPr lang="en-IN" i="1" dirty="0" err="1" smtClean="0">
                <a:solidFill>
                  <a:schemeClr val="tx2"/>
                </a:solidFill>
              </a:rPr>
              <a:t>softAssertion</a:t>
            </a:r>
            <a:r>
              <a:rPr lang="en-IN" i="1" dirty="0" smtClean="0">
                <a:solidFill>
                  <a:schemeClr val="tx2"/>
                </a:solidFill>
              </a:rPr>
              <a:t>(){</a:t>
            </a:r>
          </a:p>
          <a:p>
            <a:r>
              <a:rPr lang="en-IN" i="1" dirty="0" smtClean="0">
                <a:solidFill>
                  <a:schemeClr val="tx2"/>
                </a:solidFill>
              </a:rPr>
              <a:t>         </a:t>
            </a:r>
          </a:p>
          <a:p>
            <a:r>
              <a:rPr lang="en-IN" i="1" dirty="0" smtClean="0">
                <a:solidFill>
                  <a:schemeClr val="tx2"/>
                </a:solidFill>
              </a:rPr>
              <a:t>        </a:t>
            </a:r>
            <a:r>
              <a:rPr lang="en-IN" i="1" dirty="0" err="1" smtClean="0">
                <a:solidFill>
                  <a:schemeClr val="tx2"/>
                </a:solidFill>
              </a:rPr>
              <a:t>softAssert.assertNull</a:t>
            </a:r>
            <a:r>
              <a:rPr lang="en-IN" i="1" dirty="0" smtClean="0">
                <a:solidFill>
                  <a:schemeClr val="tx2"/>
                </a:solidFill>
              </a:rPr>
              <a:t>("assertion");</a:t>
            </a:r>
          </a:p>
          <a:p>
            <a:endParaRPr lang="en-IN" i="1" dirty="0" smtClean="0">
              <a:solidFill>
                <a:schemeClr val="tx2"/>
              </a:solidFill>
            </a:endParaRPr>
          </a:p>
          <a:p>
            <a:r>
              <a:rPr lang="en-IN" i="1" dirty="0" smtClean="0">
                <a:solidFill>
                  <a:schemeClr val="tx2"/>
                </a:solidFill>
              </a:rPr>
              <a:t>        </a:t>
            </a:r>
            <a:r>
              <a:rPr lang="en-IN" i="1" dirty="0" err="1" smtClean="0">
                <a:solidFill>
                  <a:schemeClr val="tx2"/>
                </a:solidFill>
              </a:rPr>
              <a:t>System.out.println</a:t>
            </a:r>
            <a:r>
              <a:rPr lang="en-IN" i="1" dirty="0" smtClean="0">
                <a:solidFill>
                  <a:schemeClr val="tx2"/>
                </a:solidFill>
              </a:rPr>
              <a:t>("We are using Soft assertion in this method,"</a:t>
            </a:r>
          </a:p>
          <a:p>
            <a:r>
              <a:rPr lang="en-IN" i="1" dirty="0" smtClean="0">
                <a:solidFill>
                  <a:schemeClr val="tx2"/>
                </a:solidFill>
              </a:rPr>
              <a:t>                + " so this line of code will also be executed even if "</a:t>
            </a:r>
          </a:p>
          <a:p>
            <a:r>
              <a:rPr lang="en-IN" i="1" dirty="0" smtClean="0">
                <a:solidFill>
                  <a:schemeClr val="tx2"/>
                </a:solidFill>
              </a:rPr>
              <a:t>                + "the </a:t>
            </a:r>
            <a:r>
              <a:rPr lang="en-IN" i="1" dirty="0" err="1" smtClean="0">
                <a:solidFill>
                  <a:schemeClr val="tx2"/>
                </a:solidFill>
              </a:rPr>
              <a:t>assetion</a:t>
            </a:r>
            <a:r>
              <a:rPr lang="en-IN" i="1" dirty="0" smtClean="0">
                <a:solidFill>
                  <a:schemeClr val="tx2"/>
                </a:solidFill>
              </a:rPr>
              <a:t> </a:t>
            </a:r>
            <a:r>
              <a:rPr lang="en-IN" i="1" dirty="0" err="1" smtClean="0">
                <a:solidFill>
                  <a:schemeClr val="tx2"/>
                </a:solidFill>
              </a:rPr>
              <a:t>fails.Wherever</a:t>
            </a:r>
            <a:r>
              <a:rPr lang="en-IN" i="1" dirty="0" smtClean="0">
                <a:solidFill>
                  <a:schemeClr val="tx2"/>
                </a:solidFill>
              </a:rPr>
              <a:t> we want to execute full "</a:t>
            </a:r>
          </a:p>
          <a:p>
            <a:r>
              <a:rPr lang="en-IN" i="1" dirty="0" smtClean="0">
                <a:solidFill>
                  <a:schemeClr val="tx2"/>
                </a:solidFill>
              </a:rPr>
              <a:t>                + "</a:t>
            </a:r>
            <a:r>
              <a:rPr lang="en-IN" i="1" dirty="0" err="1" smtClean="0">
                <a:solidFill>
                  <a:schemeClr val="tx2"/>
                </a:solidFill>
              </a:rPr>
              <a:t>testcase</a:t>
            </a:r>
            <a:r>
              <a:rPr lang="en-IN" i="1" dirty="0" smtClean="0">
                <a:solidFill>
                  <a:schemeClr val="tx2"/>
                </a:solidFill>
              </a:rPr>
              <a:t>/method, we should use </a:t>
            </a:r>
            <a:r>
              <a:rPr lang="en-IN" i="1" dirty="0" err="1" smtClean="0">
                <a:solidFill>
                  <a:schemeClr val="tx2"/>
                </a:solidFill>
              </a:rPr>
              <a:t>SoftAssertion</a:t>
            </a:r>
            <a:r>
              <a:rPr lang="en-IN" i="1" dirty="0" smtClean="0">
                <a:solidFill>
                  <a:schemeClr val="tx2"/>
                </a:solidFill>
              </a:rPr>
              <a:t>");</a:t>
            </a:r>
          </a:p>
          <a:p>
            <a:r>
              <a:rPr lang="en-IN" i="1" dirty="0" smtClean="0">
                <a:solidFill>
                  <a:schemeClr val="tx2"/>
                </a:solidFill>
              </a:rPr>
              <a:t>        </a:t>
            </a:r>
            <a:r>
              <a:rPr lang="en-IN" i="1" dirty="0" err="1" smtClean="0">
                <a:solidFill>
                  <a:schemeClr val="tx2"/>
                </a:solidFill>
              </a:rPr>
              <a:t>softAssert.assertAll</a:t>
            </a:r>
            <a:r>
              <a:rPr lang="en-IN" i="1" dirty="0" smtClean="0">
                <a:solidFill>
                  <a:schemeClr val="tx2"/>
                </a:solidFill>
              </a:rPr>
              <a:t>();</a:t>
            </a:r>
          </a:p>
          <a:p>
            <a:r>
              <a:rPr lang="en-IN" i="1" dirty="0" smtClean="0">
                <a:solidFill>
                  <a:schemeClr val="tx2"/>
                </a:solidFill>
              </a:rPr>
              <a:t>    }</a:t>
            </a:r>
          </a:p>
          <a:p>
            <a:pPr>
              <a:buFontTx/>
              <a:buChar char="-"/>
            </a:pPr>
            <a:endParaRPr lang="en-IN" i="1" dirty="0" smtClean="0">
              <a:solidFill>
                <a:schemeClr val="tx2"/>
              </a:solidFill>
            </a:endParaRPr>
          </a:p>
          <a:p>
            <a:endParaRPr lang="en-IN" b="1" dirty="0">
              <a:solidFill>
                <a:schemeClr val="tx2"/>
              </a:solidFill>
            </a:endParaRPr>
          </a:p>
        </p:txBody>
      </p:sp>
    </p:spTree>
    <p:extLst>
      <p:ext uri="{BB962C8B-B14F-4D97-AF65-F5344CB8AC3E}">
        <p14:creationId xmlns:p14="http://schemas.microsoft.com/office/powerpoint/2010/main" val="7564776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5539" y="164469"/>
            <a:ext cx="8195240" cy="346249"/>
          </a:xfrm>
        </p:spPr>
        <p:txBody>
          <a:bodyPr>
            <a:noAutofit/>
          </a:bodyPr>
          <a:lstStyle/>
          <a:p>
            <a:r>
              <a:rPr lang="en-US" sz="2700" dirty="0"/>
              <a:t>Assertion Exercises</a:t>
            </a:r>
          </a:p>
        </p:txBody>
      </p:sp>
      <p:sp>
        <p:nvSpPr>
          <p:cNvPr id="4" name="TextBox 3"/>
          <p:cNvSpPr txBox="1"/>
          <p:nvPr/>
        </p:nvSpPr>
        <p:spPr>
          <a:xfrm>
            <a:off x="745538" y="942697"/>
            <a:ext cx="6203852" cy="923330"/>
          </a:xfrm>
          <a:prstGeom prst="rect">
            <a:avLst/>
          </a:prstGeom>
          <a:noFill/>
        </p:spPr>
        <p:txBody>
          <a:bodyPr wrap="square" rtlCol="0">
            <a:spAutoFit/>
          </a:bodyPr>
          <a:lstStyle/>
          <a:p>
            <a:pPr marL="257175" indent="-257175" algn="just">
              <a:buAutoNum type="arabicPeriod"/>
            </a:pPr>
            <a:r>
              <a:rPr lang="en-US" dirty="0" smtClean="0">
                <a:solidFill>
                  <a:schemeClr val="tx2"/>
                </a:solidFill>
              </a:rPr>
              <a:t>Perform Assertion for test – using the assertion statements</a:t>
            </a:r>
          </a:p>
          <a:p>
            <a:pPr marL="257175" indent="-257175" algn="just">
              <a:buAutoNum type="arabicPeriod"/>
            </a:pPr>
            <a:r>
              <a:rPr lang="en-US" dirty="0" smtClean="0">
                <a:solidFill>
                  <a:schemeClr val="tx2"/>
                </a:solidFill>
              </a:rPr>
              <a:t>Provide the difference in console for a soft assert and an assertio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1920663" y="2763659"/>
            <a:ext cx="3853601" cy="2642469"/>
          </a:xfrm>
          <a:prstGeom prst="rect">
            <a:avLst/>
          </a:prstGeom>
          <a:effectLst>
            <a:softEdge rad="635000"/>
          </a:effectLst>
        </p:spPr>
      </p:pic>
    </p:spTree>
    <p:extLst>
      <p:ext uri="{BB962C8B-B14F-4D97-AF65-F5344CB8AC3E}">
        <p14:creationId xmlns:p14="http://schemas.microsoft.com/office/powerpoint/2010/main" val="2907870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48760" y="996758"/>
            <a:ext cx="8195240" cy="2903359"/>
          </a:xfrm>
        </p:spPr>
        <p:txBody>
          <a:bodyPr/>
          <a:lstStyle/>
          <a:p>
            <a:pPr eaLnBrk="0" hangingPunct="0">
              <a:spcBef>
                <a:spcPts val="375"/>
              </a:spcBef>
            </a:pPr>
            <a:r>
              <a:rPr lang="en-US" sz="1800" dirty="0">
                <a:solidFill>
                  <a:schemeClr val="tx2"/>
                </a:solidFill>
                <a:latin typeface="+mn-lt"/>
                <a:cs typeface="Times New Roman" panose="02020603050405020304" pitchFamily="18" charset="0"/>
              </a:rPr>
              <a:t>Outline:</a:t>
            </a:r>
          </a:p>
          <a:p>
            <a:pPr eaLnBrk="0" hangingPunct="0">
              <a:spcBef>
                <a:spcPts val="375"/>
              </a:spcBef>
            </a:pPr>
            <a:endParaRPr lang="en-US" sz="1800" dirty="0">
              <a:solidFill>
                <a:schemeClr val="tx2"/>
              </a:solidFill>
              <a:latin typeface="+mn-lt"/>
              <a:cs typeface="Times New Roman" panose="02020603050405020304" pitchFamily="18" charset="0"/>
            </a:endParaRPr>
          </a:p>
          <a:p>
            <a:pPr marL="214313" indent="-214313" eaLnBrk="0" hangingPunct="0">
              <a:spcBef>
                <a:spcPts val="375"/>
              </a:spcBef>
              <a:buFont typeface="Arial" panose="020B0604020202020204" pitchFamily="34" charset="0"/>
              <a:buChar char="•"/>
            </a:pPr>
            <a:r>
              <a:rPr lang="en-US" sz="1800" dirty="0">
                <a:solidFill>
                  <a:schemeClr val="tx2"/>
                </a:solidFill>
                <a:latin typeface="+mn-lt"/>
                <a:cs typeface="Times New Roman" panose="02020603050405020304" pitchFamily="18" charset="0"/>
              </a:rPr>
              <a:t>What is Page Factory</a:t>
            </a:r>
          </a:p>
          <a:p>
            <a:pPr marL="214313" indent="-214313" eaLnBrk="0" hangingPunct="0">
              <a:spcBef>
                <a:spcPts val="375"/>
              </a:spcBef>
              <a:buFont typeface="Arial" panose="020B0604020202020204" pitchFamily="34" charset="0"/>
              <a:buChar char="•"/>
            </a:pPr>
            <a:r>
              <a:rPr lang="en-US" sz="1800" dirty="0">
                <a:solidFill>
                  <a:schemeClr val="tx2"/>
                </a:solidFill>
                <a:latin typeface="+mn-lt"/>
                <a:cs typeface="Times New Roman" panose="02020603050405020304" pitchFamily="18" charset="0"/>
              </a:rPr>
              <a:t>Annotation of Page Factory</a:t>
            </a:r>
          </a:p>
          <a:p>
            <a:pPr marL="214313" indent="-214313" eaLnBrk="0" hangingPunct="0">
              <a:spcBef>
                <a:spcPts val="375"/>
              </a:spcBef>
              <a:buFont typeface="Arial" panose="020B0604020202020204" pitchFamily="34" charset="0"/>
              <a:buChar char="•"/>
            </a:pPr>
            <a:r>
              <a:rPr lang="en-US" sz="1800" dirty="0" err="1">
                <a:solidFill>
                  <a:schemeClr val="tx2"/>
                </a:solidFill>
                <a:latin typeface="+mn-lt"/>
                <a:cs typeface="Times New Roman" panose="02020603050405020304" pitchFamily="18" charset="0"/>
              </a:rPr>
              <a:t>AjaxElementLocatorFactory</a:t>
            </a:r>
            <a:endParaRPr lang="en-US" sz="1800" dirty="0">
              <a:solidFill>
                <a:schemeClr val="tx2"/>
              </a:solidFill>
              <a:latin typeface="+mn-lt"/>
              <a:cs typeface="Times New Roman" panose="02020603050405020304" pitchFamily="18" charset="0"/>
            </a:endParaRPr>
          </a:p>
          <a:p>
            <a:pPr marL="214313" indent="-214313" eaLnBrk="0" hangingPunct="0">
              <a:spcBef>
                <a:spcPts val="375"/>
              </a:spcBef>
              <a:buFont typeface="Arial" panose="020B0604020202020204" pitchFamily="34" charset="0"/>
              <a:buChar char="•"/>
            </a:pPr>
            <a:r>
              <a:rPr lang="en-US" sz="1800" dirty="0">
                <a:solidFill>
                  <a:schemeClr val="tx2"/>
                </a:solidFill>
                <a:latin typeface="+mn-lt"/>
                <a:cs typeface="Times New Roman" panose="02020603050405020304" pitchFamily="18" charset="0"/>
              </a:rPr>
              <a:t>How to do it</a:t>
            </a:r>
          </a:p>
          <a:p>
            <a:pPr marL="214313" indent="-214313" eaLnBrk="0" hangingPunct="0">
              <a:spcBef>
                <a:spcPts val="375"/>
              </a:spcBef>
              <a:buFont typeface="Arial" panose="020B0604020202020204" pitchFamily="34" charset="0"/>
              <a:buChar char="•"/>
            </a:pPr>
            <a:r>
              <a:rPr lang="en-US" sz="1800" dirty="0">
                <a:solidFill>
                  <a:schemeClr val="tx2"/>
                </a:solidFill>
                <a:latin typeface="+mn-lt"/>
                <a:cs typeface="Times New Roman" panose="02020603050405020304" pitchFamily="18" charset="0"/>
              </a:rPr>
              <a:t>Summary</a:t>
            </a:r>
          </a:p>
          <a:p>
            <a:pPr marL="214313" indent="-214313" eaLnBrk="0" hangingPunct="0">
              <a:spcBef>
                <a:spcPts val="375"/>
              </a:spcBef>
              <a:buFont typeface="Arial" panose="020B0604020202020204" pitchFamily="34" charset="0"/>
              <a:buChar char="•"/>
            </a:pPr>
            <a:endParaRPr lang="en-US" sz="1800" dirty="0">
              <a:solidFill>
                <a:schemeClr val="tx2"/>
              </a:solidFill>
              <a:latin typeface="+mn-lt"/>
              <a:cs typeface="+mn-cs"/>
            </a:endParaRPr>
          </a:p>
          <a:p>
            <a:pPr marL="214313" indent="-214313" eaLnBrk="0" hangingPunct="0">
              <a:spcBef>
                <a:spcPts val="375"/>
              </a:spcBef>
              <a:buFont typeface="Arial" panose="020B0604020202020204" pitchFamily="34" charset="0"/>
              <a:buChar char="•"/>
            </a:pPr>
            <a:endParaRPr lang="en-US" sz="1800" dirty="0">
              <a:solidFill>
                <a:schemeClr val="tx2"/>
              </a:solidFill>
              <a:latin typeface="+mn-lt"/>
              <a:cs typeface="+mn-cs"/>
            </a:endParaRPr>
          </a:p>
        </p:txBody>
      </p:sp>
      <p:sp>
        <p:nvSpPr>
          <p:cNvPr id="3" name="Title 2"/>
          <p:cNvSpPr>
            <a:spLocks noGrp="1"/>
          </p:cNvSpPr>
          <p:nvPr>
            <p:ph type="title"/>
          </p:nvPr>
        </p:nvSpPr>
        <p:spPr/>
        <p:txBody>
          <a:bodyPr/>
          <a:lstStyle/>
          <a:p>
            <a:r>
              <a:rPr lang="en-US" dirty="0" smtClean="0"/>
              <a:t>Page Factory</a:t>
            </a:r>
            <a:endParaRPr lang="en-US" dirty="0"/>
          </a:p>
        </p:txBody>
      </p:sp>
    </p:spTree>
    <p:extLst>
      <p:ext uri="{BB962C8B-B14F-4D97-AF65-F5344CB8AC3E}">
        <p14:creationId xmlns:p14="http://schemas.microsoft.com/office/powerpoint/2010/main" val="42216790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51114" y="1331610"/>
            <a:ext cx="7710604" cy="3842077"/>
          </a:xfrm>
        </p:spPr>
        <p:txBody>
          <a:bodyPr/>
          <a:lstStyle/>
          <a:p>
            <a:pPr marL="214313" indent="-214313">
              <a:lnSpc>
                <a:spcPct val="150000"/>
              </a:lnSpc>
              <a:buFont typeface="Wingdings" panose="05000000000000000000" pitchFamily="2" charset="2"/>
              <a:buChar char="Ø"/>
            </a:pPr>
            <a:r>
              <a:rPr lang="en-US" sz="1800" dirty="0">
                <a:solidFill>
                  <a:schemeClr val="tx2"/>
                </a:solidFill>
                <a:latin typeface="+mn-lt"/>
              </a:rPr>
              <a:t>Page Factory is an inbuilt Page Object Model concept for Selenium WebDriver but it is very </a:t>
            </a:r>
            <a:r>
              <a:rPr lang="en-US" sz="1800" dirty="0" smtClean="0">
                <a:solidFill>
                  <a:schemeClr val="tx2"/>
                </a:solidFill>
                <a:latin typeface="+mn-lt"/>
              </a:rPr>
              <a:t>optimized</a:t>
            </a:r>
          </a:p>
          <a:p>
            <a:pPr marL="214313" indent="-214313">
              <a:lnSpc>
                <a:spcPct val="150000"/>
              </a:lnSpc>
              <a:buFont typeface="Wingdings" panose="05000000000000000000" pitchFamily="2" charset="2"/>
              <a:buChar char="Ø"/>
            </a:pPr>
            <a:r>
              <a:rPr lang="en-US" sz="1800" dirty="0" smtClean="0">
                <a:solidFill>
                  <a:schemeClr val="tx2"/>
                </a:solidFill>
                <a:latin typeface="+mn-lt"/>
              </a:rPr>
              <a:t>Following </a:t>
            </a:r>
            <a:r>
              <a:rPr lang="en-US" sz="1800" dirty="0">
                <a:solidFill>
                  <a:schemeClr val="tx2"/>
                </a:solidFill>
                <a:latin typeface="+mn-lt"/>
              </a:rPr>
              <a:t>the concept of separation of Page Object Repository and Test </a:t>
            </a:r>
            <a:r>
              <a:rPr lang="en-US" sz="1800" dirty="0" smtClean="0">
                <a:solidFill>
                  <a:schemeClr val="tx2"/>
                </a:solidFill>
                <a:latin typeface="+mn-lt"/>
              </a:rPr>
              <a:t>Methods</a:t>
            </a:r>
          </a:p>
          <a:p>
            <a:pPr marL="214313" indent="-214313">
              <a:lnSpc>
                <a:spcPct val="150000"/>
              </a:lnSpc>
              <a:buFont typeface="Wingdings" panose="05000000000000000000" pitchFamily="2" charset="2"/>
              <a:buChar char="Ø"/>
            </a:pPr>
            <a:r>
              <a:rPr lang="en-US" sz="1800" dirty="0">
                <a:solidFill>
                  <a:schemeClr val="tx2"/>
                </a:solidFill>
                <a:latin typeface="+mn-lt"/>
              </a:rPr>
              <a:t>It is used to initialize elements of a Page class without having to use ‘</a:t>
            </a:r>
            <a:r>
              <a:rPr lang="en-US" sz="1800" dirty="0" err="1">
                <a:solidFill>
                  <a:schemeClr val="tx2"/>
                </a:solidFill>
                <a:latin typeface="+mn-lt"/>
              </a:rPr>
              <a:t>FindElement</a:t>
            </a:r>
            <a:r>
              <a:rPr lang="en-US" sz="1800" dirty="0">
                <a:solidFill>
                  <a:schemeClr val="tx2"/>
                </a:solidFill>
                <a:latin typeface="+mn-lt"/>
              </a:rPr>
              <a:t>’ or ‘</a:t>
            </a:r>
            <a:r>
              <a:rPr lang="en-US" sz="1800" dirty="0" err="1">
                <a:solidFill>
                  <a:schemeClr val="tx2"/>
                </a:solidFill>
                <a:latin typeface="+mn-lt"/>
              </a:rPr>
              <a:t>FindElements</a:t>
            </a:r>
            <a:r>
              <a:rPr lang="en-US" sz="1800" dirty="0">
                <a:solidFill>
                  <a:schemeClr val="tx2"/>
                </a:solidFill>
                <a:latin typeface="+mn-lt"/>
              </a:rPr>
              <a:t>’. </a:t>
            </a:r>
            <a:endParaRPr lang="en-US" sz="1800" dirty="0" smtClean="0">
              <a:solidFill>
                <a:schemeClr val="tx2"/>
              </a:solidFill>
              <a:latin typeface="+mn-lt"/>
            </a:endParaRPr>
          </a:p>
          <a:p>
            <a:pPr marL="214313" indent="-214313">
              <a:lnSpc>
                <a:spcPct val="150000"/>
              </a:lnSpc>
              <a:buFont typeface="Wingdings" panose="05000000000000000000" pitchFamily="2" charset="2"/>
              <a:buChar char="Ø"/>
            </a:pPr>
            <a:r>
              <a:rPr lang="en-US" sz="1800" dirty="0">
                <a:solidFill>
                  <a:schemeClr val="tx2"/>
                </a:solidFill>
                <a:latin typeface="+mn-lt"/>
              </a:rPr>
              <a:t>Annotations can be used to supply descriptive names of target objects to improve code readability. </a:t>
            </a:r>
            <a:endParaRPr lang="en-US" sz="1800" dirty="0" smtClean="0">
              <a:solidFill>
                <a:schemeClr val="tx2"/>
              </a:solidFill>
              <a:latin typeface="+mn-lt"/>
            </a:endParaRPr>
          </a:p>
          <a:p>
            <a:pPr marL="214313" indent="-214313">
              <a:lnSpc>
                <a:spcPct val="150000"/>
              </a:lnSpc>
              <a:buFont typeface="Wingdings" panose="05000000000000000000" pitchFamily="2" charset="2"/>
              <a:buChar char="Ø"/>
            </a:pPr>
            <a:r>
              <a:rPr lang="en-US" sz="1800" dirty="0" smtClean="0">
                <a:solidFill>
                  <a:schemeClr val="tx2"/>
                </a:solidFill>
                <a:latin typeface="+mn-lt"/>
              </a:rPr>
              <a:t>There </a:t>
            </a:r>
            <a:r>
              <a:rPr lang="en-US" sz="1800" dirty="0">
                <a:solidFill>
                  <a:schemeClr val="tx2"/>
                </a:solidFill>
                <a:latin typeface="+mn-lt"/>
              </a:rPr>
              <a:t>is however a few differences between C# and Java implementation – Java provide greater flexibility with </a:t>
            </a:r>
            <a:r>
              <a:rPr lang="en-US" sz="1800" dirty="0" err="1">
                <a:solidFill>
                  <a:schemeClr val="tx2"/>
                </a:solidFill>
                <a:latin typeface="+mn-lt"/>
              </a:rPr>
              <a:t>PageFactory</a:t>
            </a:r>
            <a:r>
              <a:rPr lang="en-US" sz="1800" dirty="0">
                <a:solidFill>
                  <a:schemeClr val="tx2"/>
                </a:solidFill>
                <a:latin typeface="+mn-lt"/>
              </a:rPr>
              <a:t>.</a:t>
            </a:r>
          </a:p>
        </p:txBody>
      </p:sp>
      <p:sp>
        <p:nvSpPr>
          <p:cNvPr id="3" name="Title 2"/>
          <p:cNvSpPr>
            <a:spLocks noGrp="1"/>
          </p:cNvSpPr>
          <p:nvPr>
            <p:ph type="title"/>
          </p:nvPr>
        </p:nvSpPr>
        <p:spPr/>
        <p:txBody>
          <a:bodyPr/>
          <a:lstStyle/>
          <a:p>
            <a:r>
              <a:rPr lang="en-US" dirty="0" smtClean="0"/>
              <a:t>Page Factory</a:t>
            </a:r>
            <a:endParaRPr lang="en-US" dirty="0"/>
          </a:p>
        </p:txBody>
      </p:sp>
    </p:spTree>
    <p:extLst>
      <p:ext uri="{BB962C8B-B14F-4D97-AF65-F5344CB8AC3E}">
        <p14:creationId xmlns:p14="http://schemas.microsoft.com/office/powerpoint/2010/main" val="26486525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45868" y="2005993"/>
            <a:ext cx="6486381" cy="2653520"/>
          </a:xfrm>
        </p:spPr>
      </p:pic>
      <p:sp>
        <p:nvSpPr>
          <p:cNvPr id="3" name="Title 2"/>
          <p:cNvSpPr>
            <a:spLocks noGrp="1"/>
          </p:cNvSpPr>
          <p:nvPr>
            <p:ph type="title"/>
          </p:nvPr>
        </p:nvSpPr>
        <p:spPr/>
        <p:txBody>
          <a:bodyPr/>
          <a:lstStyle/>
          <a:p>
            <a:r>
              <a:rPr lang="en-US" dirty="0" smtClean="0"/>
              <a:t>Page Factory - Annotation</a:t>
            </a:r>
            <a:endParaRPr lang="en-US" dirty="0"/>
          </a:p>
        </p:txBody>
      </p:sp>
      <p:sp>
        <p:nvSpPr>
          <p:cNvPr id="5" name="TextBox 4"/>
          <p:cNvSpPr txBox="1"/>
          <p:nvPr/>
        </p:nvSpPr>
        <p:spPr>
          <a:xfrm>
            <a:off x="786744" y="4925273"/>
            <a:ext cx="7404631" cy="646331"/>
          </a:xfrm>
          <a:prstGeom prst="rect">
            <a:avLst/>
          </a:prstGeom>
          <a:noFill/>
        </p:spPr>
        <p:txBody>
          <a:bodyPr wrap="square" rtlCol="0">
            <a:spAutoFit/>
          </a:bodyPr>
          <a:lstStyle/>
          <a:p>
            <a:r>
              <a:rPr lang="en-US" b="1" dirty="0">
                <a:solidFill>
                  <a:schemeClr val="tx2"/>
                </a:solidFill>
              </a:rPr>
              <a:t>@</a:t>
            </a:r>
            <a:r>
              <a:rPr lang="en-US" b="1" dirty="0" err="1">
                <a:solidFill>
                  <a:schemeClr val="tx2"/>
                </a:solidFill>
              </a:rPr>
              <a:t>FindBy</a:t>
            </a:r>
            <a:r>
              <a:rPr lang="en-US" dirty="0">
                <a:solidFill>
                  <a:schemeClr val="tx2"/>
                </a:solidFill>
              </a:rPr>
              <a:t> can accept </a:t>
            </a:r>
            <a:r>
              <a:rPr lang="en-US" b="1" dirty="0" err="1">
                <a:solidFill>
                  <a:schemeClr val="tx2"/>
                </a:solidFill>
              </a:rPr>
              <a:t>tagName</a:t>
            </a:r>
            <a:r>
              <a:rPr lang="en-US" b="1" dirty="0">
                <a:solidFill>
                  <a:schemeClr val="tx2"/>
                </a:solidFill>
              </a:rPr>
              <a:t>, </a:t>
            </a:r>
            <a:r>
              <a:rPr lang="en-US" b="1" dirty="0" err="1">
                <a:solidFill>
                  <a:schemeClr val="tx2"/>
                </a:solidFill>
              </a:rPr>
              <a:t>partialLinkText</a:t>
            </a:r>
            <a:r>
              <a:rPr lang="en-US" b="1" dirty="0">
                <a:solidFill>
                  <a:schemeClr val="tx2"/>
                </a:solidFill>
              </a:rPr>
              <a:t>, name, </a:t>
            </a:r>
            <a:r>
              <a:rPr lang="en-US" b="1" dirty="0" err="1">
                <a:solidFill>
                  <a:schemeClr val="tx2"/>
                </a:solidFill>
              </a:rPr>
              <a:t>linkText</a:t>
            </a:r>
            <a:r>
              <a:rPr lang="en-US" b="1" dirty="0">
                <a:solidFill>
                  <a:schemeClr val="tx2"/>
                </a:solidFill>
              </a:rPr>
              <a:t>, id, </a:t>
            </a:r>
            <a:r>
              <a:rPr lang="en-US" b="1" dirty="0" err="1">
                <a:solidFill>
                  <a:schemeClr val="tx2"/>
                </a:solidFill>
              </a:rPr>
              <a:t>css</a:t>
            </a:r>
            <a:r>
              <a:rPr lang="en-US" b="1" dirty="0">
                <a:solidFill>
                  <a:schemeClr val="tx2"/>
                </a:solidFill>
              </a:rPr>
              <a:t>, </a:t>
            </a:r>
            <a:r>
              <a:rPr lang="en-US" b="1" dirty="0" err="1">
                <a:solidFill>
                  <a:schemeClr val="tx2"/>
                </a:solidFill>
              </a:rPr>
              <a:t>className</a:t>
            </a:r>
            <a:r>
              <a:rPr lang="en-US" b="1" dirty="0">
                <a:solidFill>
                  <a:schemeClr val="tx2"/>
                </a:solidFill>
              </a:rPr>
              <a:t>, </a:t>
            </a:r>
            <a:r>
              <a:rPr lang="en-US" b="1" dirty="0" err="1">
                <a:solidFill>
                  <a:schemeClr val="tx2"/>
                </a:solidFill>
              </a:rPr>
              <a:t>xpath</a:t>
            </a:r>
            <a:r>
              <a:rPr lang="en-US" b="1" dirty="0">
                <a:solidFill>
                  <a:schemeClr val="tx2"/>
                </a:solidFill>
              </a:rPr>
              <a:t> </a:t>
            </a:r>
            <a:r>
              <a:rPr lang="en-US" dirty="0">
                <a:solidFill>
                  <a:schemeClr val="tx2"/>
                </a:solidFill>
              </a:rPr>
              <a:t>as </a:t>
            </a:r>
            <a:r>
              <a:rPr lang="en-US" dirty="0" smtClean="0">
                <a:solidFill>
                  <a:schemeClr val="tx2"/>
                </a:solidFill>
              </a:rPr>
              <a:t>attributes</a:t>
            </a:r>
            <a:endParaRPr lang="en-US" dirty="0">
              <a:solidFill>
                <a:schemeClr val="tx2"/>
              </a:solidFill>
            </a:endParaRPr>
          </a:p>
        </p:txBody>
      </p:sp>
      <p:sp>
        <p:nvSpPr>
          <p:cNvPr id="6" name="TextBox 5"/>
          <p:cNvSpPr txBox="1"/>
          <p:nvPr/>
        </p:nvSpPr>
        <p:spPr>
          <a:xfrm>
            <a:off x="586280" y="1082663"/>
            <a:ext cx="7605095" cy="923330"/>
          </a:xfrm>
          <a:prstGeom prst="rect">
            <a:avLst/>
          </a:prstGeom>
          <a:noFill/>
        </p:spPr>
        <p:txBody>
          <a:bodyPr wrap="square" rtlCol="0">
            <a:spAutoFit/>
          </a:bodyPr>
          <a:lstStyle/>
          <a:p>
            <a:pPr algn="just"/>
            <a:r>
              <a:rPr lang="en-US" dirty="0">
                <a:solidFill>
                  <a:schemeClr val="tx2"/>
                </a:solidFill>
              </a:rPr>
              <a:t>We use annotations </a:t>
            </a:r>
            <a:r>
              <a:rPr lang="en-US" b="1" dirty="0">
                <a:solidFill>
                  <a:schemeClr val="tx2"/>
                </a:solidFill>
              </a:rPr>
              <a:t>@</a:t>
            </a:r>
            <a:r>
              <a:rPr lang="en-US" b="1" dirty="0" err="1">
                <a:solidFill>
                  <a:schemeClr val="tx2"/>
                </a:solidFill>
              </a:rPr>
              <a:t>FindBy</a:t>
            </a:r>
            <a:r>
              <a:rPr lang="en-US" dirty="0">
                <a:solidFill>
                  <a:schemeClr val="tx2"/>
                </a:solidFill>
              </a:rPr>
              <a:t> to find </a:t>
            </a:r>
            <a:r>
              <a:rPr lang="en-US" dirty="0" err="1">
                <a:solidFill>
                  <a:schemeClr val="tx2"/>
                </a:solidFill>
              </a:rPr>
              <a:t>WebElement</a:t>
            </a:r>
            <a:r>
              <a:rPr lang="en-US" dirty="0">
                <a:solidFill>
                  <a:schemeClr val="tx2"/>
                </a:solidFill>
              </a:rPr>
              <a:t>. We use </a:t>
            </a:r>
            <a:r>
              <a:rPr lang="en-US" dirty="0" err="1">
                <a:solidFill>
                  <a:schemeClr val="tx2"/>
                </a:solidFill>
              </a:rPr>
              <a:t>initElements</a:t>
            </a:r>
            <a:r>
              <a:rPr lang="en-US" dirty="0">
                <a:solidFill>
                  <a:schemeClr val="tx2"/>
                </a:solidFill>
              </a:rPr>
              <a:t> method to initialize web elements</a:t>
            </a:r>
          </a:p>
          <a:p>
            <a:pPr algn="just"/>
            <a:endParaRPr lang="en-US" dirty="0">
              <a:solidFill>
                <a:schemeClr val="tx2"/>
              </a:solidFill>
            </a:endParaRPr>
          </a:p>
        </p:txBody>
      </p:sp>
    </p:spTree>
    <p:extLst>
      <p:ext uri="{BB962C8B-B14F-4D97-AF65-F5344CB8AC3E}">
        <p14:creationId xmlns:p14="http://schemas.microsoft.com/office/powerpoint/2010/main" val="27918286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4344" y="1151369"/>
            <a:ext cx="8195240" cy="2103140"/>
          </a:xfrm>
        </p:spPr>
        <p:txBody>
          <a:bodyPr/>
          <a:lstStyle/>
          <a:p>
            <a:pPr marL="214313" indent="-214313" algn="just">
              <a:lnSpc>
                <a:spcPct val="150000"/>
              </a:lnSpc>
              <a:buFont typeface="Wingdings" panose="05000000000000000000" pitchFamily="2" charset="2"/>
              <a:buChar char="Ø"/>
            </a:pPr>
            <a:r>
              <a:rPr lang="en-US" sz="1800" dirty="0" smtClean="0">
                <a:solidFill>
                  <a:schemeClr val="tx2"/>
                </a:solidFill>
                <a:latin typeface="+mn-lt"/>
              </a:rPr>
              <a:t>It </a:t>
            </a:r>
            <a:r>
              <a:rPr lang="en-US" sz="1800" dirty="0">
                <a:solidFill>
                  <a:schemeClr val="tx2"/>
                </a:solidFill>
                <a:latin typeface="+mn-lt"/>
              </a:rPr>
              <a:t>is working on lazy loading concept, i.e. a timeout for a </a:t>
            </a:r>
            <a:r>
              <a:rPr lang="en-US" sz="1800" dirty="0" err="1">
                <a:solidFill>
                  <a:schemeClr val="tx2"/>
                </a:solidFill>
                <a:latin typeface="+mn-lt"/>
              </a:rPr>
              <a:t>WebElement</a:t>
            </a:r>
            <a:r>
              <a:rPr lang="en-US" sz="1800" dirty="0">
                <a:solidFill>
                  <a:schemeClr val="tx2"/>
                </a:solidFill>
                <a:latin typeface="+mn-lt"/>
              </a:rPr>
              <a:t> will be assigned to the Object page class with the help of </a:t>
            </a:r>
            <a:r>
              <a:rPr lang="en-US" sz="1800" dirty="0" err="1">
                <a:solidFill>
                  <a:schemeClr val="tx2"/>
                </a:solidFill>
                <a:latin typeface="+mn-lt"/>
              </a:rPr>
              <a:t>AjaxElementLocatorFactory</a:t>
            </a:r>
            <a:r>
              <a:rPr lang="en-US" sz="1800" dirty="0">
                <a:solidFill>
                  <a:schemeClr val="tx2"/>
                </a:solidFill>
                <a:latin typeface="+mn-lt"/>
              </a:rPr>
              <a:t> </a:t>
            </a:r>
            <a:r>
              <a:rPr lang="en-US" sz="1800" dirty="0" smtClean="0">
                <a:solidFill>
                  <a:schemeClr val="tx2"/>
                </a:solidFill>
                <a:latin typeface="+mn-lt"/>
              </a:rPr>
              <a:t>.</a:t>
            </a:r>
          </a:p>
          <a:p>
            <a:pPr marL="214313" indent="-214313" algn="just">
              <a:lnSpc>
                <a:spcPct val="150000"/>
              </a:lnSpc>
              <a:buFont typeface="Wingdings" panose="05000000000000000000" pitchFamily="2" charset="2"/>
              <a:buChar char="Ø"/>
            </a:pPr>
            <a:r>
              <a:rPr lang="en-US" sz="1800" dirty="0">
                <a:solidFill>
                  <a:schemeClr val="tx2"/>
                </a:solidFill>
                <a:latin typeface="+mn-lt"/>
              </a:rPr>
              <a:t>Here, when an operation is performed on an element the wait for its visibility starts from that moment only. If the element is not found in the given time </a:t>
            </a:r>
            <a:r>
              <a:rPr lang="en-US" sz="1800" dirty="0" smtClean="0">
                <a:solidFill>
                  <a:schemeClr val="tx2"/>
                </a:solidFill>
                <a:latin typeface="+mn-lt"/>
              </a:rPr>
              <a:t>interval, </a:t>
            </a:r>
            <a:r>
              <a:rPr lang="en-US" sz="1800" dirty="0" err="1" smtClean="0">
                <a:solidFill>
                  <a:schemeClr val="tx2"/>
                </a:solidFill>
                <a:latin typeface="+mn-lt"/>
              </a:rPr>
              <a:t>Testcase</a:t>
            </a:r>
            <a:r>
              <a:rPr lang="en-US" sz="1800" dirty="0" smtClean="0">
                <a:solidFill>
                  <a:schemeClr val="tx2"/>
                </a:solidFill>
                <a:latin typeface="+mn-lt"/>
              </a:rPr>
              <a:t> execution </a:t>
            </a:r>
            <a:r>
              <a:rPr lang="en-US" sz="1800" dirty="0">
                <a:solidFill>
                  <a:schemeClr val="tx2"/>
                </a:solidFill>
                <a:latin typeface="+mn-lt"/>
              </a:rPr>
              <a:t>will throw '</a:t>
            </a:r>
            <a:r>
              <a:rPr lang="en-US" sz="1800" dirty="0" err="1">
                <a:solidFill>
                  <a:schemeClr val="tx2"/>
                </a:solidFill>
                <a:latin typeface="+mn-lt"/>
              </a:rPr>
              <a:t>NoSuchElementException</a:t>
            </a:r>
            <a:r>
              <a:rPr lang="en-US" sz="1800" dirty="0">
                <a:solidFill>
                  <a:schemeClr val="tx2"/>
                </a:solidFill>
                <a:latin typeface="+mn-lt"/>
              </a:rPr>
              <a:t>' exception. </a:t>
            </a:r>
          </a:p>
        </p:txBody>
      </p:sp>
      <p:sp>
        <p:nvSpPr>
          <p:cNvPr id="3" name="Title 2"/>
          <p:cNvSpPr>
            <a:spLocks noGrp="1"/>
          </p:cNvSpPr>
          <p:nvPr>
            <p:ph type="title"/>
          </p:nvPr>
        </p:nvSpPr>
        <p:spPr>
          <a:xfrm>
            <a:off x="802629" y="247636"/>
            <a:ext cx="3782250" cy="369332"/>
          </a:xfrm>
        </p:spPr>
        <p:txBody>
          <a:bodyPr/>
          <a:lstStyle/>
          <a:p>
            <a:r>
              <a:rPr lang="en-US" sz="2400" dirty="0" err="1"/>
              <a:t>AjaxElementLocatorFactory</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0676" y="3617162"/>
            <a:ext cx="6968405" cy="1706037"/>
          </a:xfrm>
          <a:prstGeom prst="rect">
            <a:avLst/>
          </a:prstGeom>
        </p:spPr>
      </p:pic>
    </p:spTree>
    <p:extLst>
      <p:ext uri="{BB962C8B-B14F-4D97-AF65-F5344CB8AC3E}">
        <p14:creationId xmlns:p14="http://schemas.microsoft.com/office/powerpoint/2010/main" val="4585456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57176" y="1422060"/>
            <a:ext cx="7193616" cy="3218830"/>
          </a:xfrm>
        </p:spPr>
        <p:txBody>
          <a:bodyPr/>
          <a:lstStyle/>
          <a:p>
            <a:pPr marL="214313" indent="-214313" algn="just">
              <a:lnSpc>
                <a:spcPct val="150000"/>
              </a:lnSpc>
              <a:buFont typeface="Wingdings" panose="05000000000000000000" pitchFamily="2" charset="2"/>
              <a:buChar char="Ø"/>
            </a:pPr>
            <a:r>
              <a:rPr lang="en-US" sz="1800" dirty="0">
                <a:solidFill>
                  <a:schemeClr val="tx2"/>
                </a:solidFill>
                <a:latin typeface="+mn-lt"/>
              </a:rPr>
              <a:t>Page Object Model is an Object Repository design pattern in Selenium WebDriver.</a:t>
            </a:r>
          </a:p>
          <a:p>
            <a:pPr marL="214313" indent="-214313" algn="just">
              <a:lnSpc>
                <a:spcPct val="150000"/>
              </a:lnSpc>
              <a:buFont typeface="Wingdings" panose="05000000000000000000" pitchFamily="2" charset="2"/>
              <a:buChar char="Ø"/>
            </a:pPr>
            <a:r>
              <a:rPr lang="en-US" sz="1800" dirty="0">
                <a:solidFill>
                  <a:schemeClr val="tx2"/>
                </a:solidFill>
                <a:latin typeface="+mn-lt"/>
              </a:rPr>
              <a:t>POM creates our testing code maintainable, reusable.</a:t>
            </a:r>
          </a:p>
          <a:p>
            <a:pPr marL="214313" indent="-214313" algn="just">
              <a:lnSpc>
                <a:spcPct val="150000"/>
              </a:lnSpc>
              <a:buFont typeface="Wingdings" panose="05000000000000000000" pitchFamily="2" charset="2"/>
              <a:buChar char="Ø"/>
            </a:pPr>
            <a:r>
              <a:rPr lang="en-US" sz="1800" dirty="0">
                <a:solidFill>
                  <a:schemeClr val="tx2"/>
                </a:solidFill>
                <a:latin typeface="+mn-lt"/>
              </a:rPr>
              <a:t>Page Factory is an optimized way to create object repository in POM concept.</a:t>
            </a:r>
          </a:p>
          <a:p>
            <a:pPr marL="214313" indent="-214313" algn="just">
              <a:lnSpc>
                <a:spcPct val="150000"/>
              </a:lnSpc>
              <a:buFont typeface="Wingdings" panose="05000000000000000000" pitchFamily="2" charset="2"/>
              <a:buChar char="Ø"/>
            </a:pPr>
            <a:r>
              <a:rPr lang="en-US" sz="1800" dirty="0" err="1">
                <a:solidFill>
                  <a:schemeClr val="tx2"/>
                </a:solidFill>
                <a:latin typeface="+mn-lt"/>
              </a:rPr>
              <a:t>AjaxElementLocatorFactory</a:t>
            </a:r>
            <a:r>
              <a:rPr lang="en-US" sz="1800" dirty="0">
                <a:solidFill>
                  <a:schemeClr val="tx2"/>
                </a:solidFill>
                <a:latin typeface="+mn-lt"/>
              </a:rPr>
              <a:t> is a lazy load concept in Page Factory pattern to identify </a:t>
            </a:r>
            <a:r>
              <a:rPr lang="en-US" sz="1800" dirty="0" err="1">
                <a:solidFill>
                  <a:schemeClr val="tx2"/>
                </a:solidFill>
                <a:latin typeface="+mn-lt"/>
              </a:rPr>
              <a:t>WebElements</a:t>
            </a:r>
            <a:r>
              <a:rPr lang="en-US" sz="1800" dirty="0">
                <a:solidFill>
                  <a:schemeClr val="tx2"/>
                </a:solidFill>
                <a:latin typeface="+mn-lt"/>
              </a:rPr>
              <a:t> only when they are used in any operation.</a:t>
            </a:r>
          </a:p>
          <a:p>
            <a:pPr algn="just"/>
            <a:endParaRPr lang="en-US" dirty="0">
              <a:solidFill>
                <a:schemeClr val="tx2"/>
              </a:solidFill>
              <a:latin typeface="+mn-lt"/>
            </a:endParaRPr>
          </a:p>
        </p:txBody>
      </p:sp>
      <p:sp>
        <p:nvSpPr>
          <p:cNvPr id="3" name="Title 2"/>
          <p:cNvSpPr>
            <a:spLocks noGrp="1"/>
          </p:cNvSpPr>
          <p:nvPr>
            <p:ph type="title"/>
          </p:nvPr>
        </p:nvSpPr>
        <p:spPr/>
        <p:txBody>
          <a:bodyPr/>
          <a:lstStyle/>
          <a:p>
            <a:r>
              <a:rPr lang="en-US" dirty="0" smtClean="0"/>
              <a:t>Page Factory - Summary</a:t>
            </a:r>
            <a:endParaRPr lang="en-US" dirty="0"/>
          </a:p>
        </p:txBody>
      </p:sp>
    </p:spTree>
    <p:extLst>
      <p:ext uri="{BB962C8B-B14F-4D97-AF65-F5344CB8AC3E}">
        <p14:creationId xmlns:p14="http://schemas.microsoft.com/office/powerpoint/2010/main" val="27394239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813" y="267501"/>
            <a:ext cx="8195240" cy="346249"/>
          </a:xfrm>
        </p:spPr>
        <p:txBody>
          <a:bodyPr>
            <a:noAutofit/>
          </a:bodyPr>
          <a:lstStyle/>
          <a:p>
            <a:r>
              <a:rPr lang="en-US" sz="2700" dirty="0"/>
              <a:t>Page Factory Exercises</a:t>
            </a:r>
          </a:p>
        </p:txBody>
      </p:sp>
      <p:sp>
        <p:nvSpPr>
          <p:cNvPr id="4" name="TextBox 3"/>
          <p:cNvSpPr txBox="1"/>
          <p:nvPr/>
        </p:nvSpPr>
        <p:spPr>
          <a:xfrm>
            <a:off x="706902" y="1754066"/>
            <a:ext cx="6203852" cy="646331"/>
          </a:xfrm>
          <a:prstGeom prst="rect">
            <a:avLst/>
          </a:prstGeom>
          <a:noFill/>
        </p:spPr>
        <p:txBody>
          <a:bodyPr wrap="square" rtlCol="0">
            <a:spAutoFit/>
          </a:bodyPr>
          <a:lstStyle/>
          <a:p>
            <a:pPr marL="257175" indent="-257175" algn="just">
              <a:buAutoNum type="arabicPeriod"/>
            </a:pPr>
            <a:r>
              <a:rPr lang="en-US" dirty="0" smtClean="0">
                <a:solidFill>
                  <a:schemeClr val="tx2"/>
                </a:solidFill>
                <a:latin typeface="+mn-lt"/>
              </a:rPr>
              <a:t>Convert the project in to a page factory model</a:t>
            </a:r>
          </a:p>
          <a:p>
            <a:pPr marL="257175" indent="-257175" algn="just">
              <a:buAutoNum type="arabicPeriod"/>
            </a:pPr>
            <a:r>
              <a:rPr lang="en-US" dirty="0" smtClean="0">
                <a:solidFill>
                  <a:schemeClr val="tx2"/>
                </a:solidFill>
                <a:latin typeface="+mn-lt"/>
              </a:rPr>
              <a:t>Use the page factory different locator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2023282" y="3111390"/>
            <a:ext cx="3853601" cy="2642469"/>
          </a:xfrm>
          <a:prstGeom prst="rect">
            <a:avLst/>
          </a:prstGeom>
          <a:effectLst>
            <a:softEdge rad="635000"/>
          </a:effectLst>
        </p:spPr>
      </p:pic>
    </p:spTree>
    <p:extLst>
      <p:ext uri="{BB962C8B-B14F-4D97-AF65-F5344CB8AC3E}">
        <p14:creationId xmlns:p14="http://schemas.microsoft.com/office/powerpoint/2010/main" val="3170926212"/>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ercises</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TextBox 5"/>
          <p:cNvSpPr txBox="1"/>
          <p:nvPr/>
        </p:nvSpPr>
        <p:spPr>
          <a:xfrm>
            <a:off x="927100" y="1061879"/>
            <a:ext cx="7454900" cy="1754326"/>
          </a:xfrm>
          <a:prstGeom prst="rect">
            <a:avLst/>
          </a:prstGeom>
          <a:noFill/>
        </p:spPr>
        <p:txBody>
          <a:bodyPr wrap="square" rtlCol="0">
            <a:spAutoFit/>
          </a:bodyPr>
          <a:lstStyle/>
          <a:p>
            <a:pPr marL="342900" indent="-342900" algn="just">
              <a:buAutoNum type="arabicPeriod"/>
            </a:pPr>
            <a:r>
              <a:rPr lang="en-US" dirty="0" smtClean="0">
                <a:solidFill>
                  <a:schemeClr val="tx2"/>
                </a:solidFill>
                <a:latin typeface="+mn-lt"/>
              </a:rPr>
              <a:t>Find the script to navigate certificate navigation error</a:t>
            </a:r>
          </a:p>
          <a:p>
            <a:pPr marL="342900" indent="-342900" algn="just">
              <a:buAutoNum type="arabicPeriod"/>
            </a:pPr>
            <a:r>
              <a:rPr lang="en-US" dirty="0" smtClean="0">
                <a:solidFill>
                  <a:schemeClr val="tx2"/>
                </a:solidFill>
                <a:latin typeface="+mn-lt"/>
              </a:rPr>
              <a:t>Use all 3 types of waits in a flow to synchronize the automation execution flow</a:t>
            </a:r>
          </a:p>
          <a:p>
            <a:pPr marL="342900" indent="-342900" algn="just">
              <a:buAutoNum type="arabicPeriod"/>
            </a:pPr>
            <a:r>
              <a:rPr lang="en-US" dirty="0" smtClean="0">
                <a:solidFill>
                  <a:schemeClr val="tx2"/>
                </a:solidFill>
                <a:latin typeface="+mn-lt"/>
              </a:rPr>
              <a:t>Various capabilities in IE</a:t>
            </a:r>
            <a:r>
              <a:rPr lang="en-US" dirty="0">
                <a:solidFill>
                  <a:schemeClr val="tx2"/>
                </a:solidFill>
                <a:latin typeface="+mn-lt"/>
              </a:rPr>
              <a:t> </a:t>
            </a:r>
            <a:r>
              <a:rPr lang="en-US" dirty="0" smtClean="0">
                <a:solidFill>
                  <a:schemeClr val="tx2"/>
                </a:solidFill>
                <a:latin typeface="+mn-lt"/>
              </a:rPr>
              <a:t>and Chrome</a:t>
            </a:r>
          </a:p>
          <a:p>
            <a:pPr marL="342900" indent="-342900" algn="just">
              <a:buAutoNum type="arabicPeriod"/>
            </a:pPr>
            <a:r>
              <a:rPr lang="en-US" dirty="0" smtClean="0">
                <a:solidFill>
                  <a:schemeClr val="tx2"/>
                </a:solidFill>
                <a:latin typeface="+mn-lt"/>
              </a:rPr>
              <a:t>Save screenshots in the order of time in a folder</a:t>
            </a:r>
          </a:p>
          <a:p>
            <a:pPr marL="342900" indent="-342900" algn="just">
              <a:buAutoNum type="arabicPeriod"/>
            </a:pPr>
            <a:r>
              <a:rPr lang="en-US" dirty="0" smtClean="0">
                <a:solidFill>
                  <a:schemeClr val="tx2"/>
                </a:solidFill>
                <a:latin typeface="+mn-lt"/>
              </a:rPr>
              <a:t>List the number of similar elements in a web page and print its content</a:t>
            </a:r>
            <a:endParaRPr lang="en-IN" dirty="0">
              <a:solidFill>
                <a:schemeClr val="tx2"/>
              </a:solidFill>
              <a:latin typeface="+mn-lt"/>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875205">
            <a:off x="2023282" y="3111390"/>
            <a:ext cx="3853601" cy="2642469"/>
          </a:xfrm>
          <a:prstGeom prst="rect">
            <a:avLst/>
          </a:prstGeom>
          <a:effectLst>
            <a:softEdge rad="635000"/>
          </a:effectLst>
        </p:spPr>
      </p:pic>
    </p:spTree>
    <p:extLst>
      <p:ext uri="{BB962C8B-B14F-4D97-AF65-F5344CB8AC3E}">
        <p14:creationId xmlns:p14="http://schemas.microsoft.com/office/powerpoint/2010/main" val="24484270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365" y="892629"/>
            <a:ext cx="8048355" cy="4528776"/>
          </a:xfrm>
          <a:prstGeom prst="rect">
            <a:avLst/>
          </a:prstGeom>
        </p:spPr>
      </p:pic>
      <p:sp>
        <p:nvSpPr>
          <p:cNvPr id="7" name="Title 3"/>
          <p:cNvSpPr txBox="1">
            <a:spLocks/>
          </p:cNvSpPr>
          <p:nvPr/>
        </p:nvSpPr>
        <p:spPr bwMode="gray">
          <a:xfrm>
            <a:off x="889164" y="4928962"/>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see you in next session</a:t>
            </a:r>
            <a:endParaRPr lang="en-IN" sz="3200" b="0" i="1" dirty="0"/>
          </a:p>
        </p:txBody>
      </p:sp>
    </p:spTree>
    <p:extLst>
      <p:ext uri="{BB962C8B-B14F-4D97-AF65-F5344CB8AC3E}">
        <p14:creationId xmlns:p14="http://schemas.microsoft.com/office/powerpoint/2010/main" val="21978536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croll up and down in Selenium Webdriver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TextBox 5"/>
          <p:cNvSpPr txBox="1"/>
          <p:nvPr/>
        </p:nvSpPr>
        <p:spPr>
          <a:xfrm>
            <a:off x="722827" y="637128"/>
            <a:ext cx="7493000" cy="5632311"/>
          </a:xfrm>
          <a:prstGeom prst="rect">
            <a:avLst/>
          </a:prstGeom>
          <a:noFill/>
        </p:spPr>
        <p:txBody>
          <a:bodyPr wrap="square" rtlCol="0">
            <a:spAutoFit/>
          </a:bodyPr>
          <a:lstStyle/>
          <a:p>
            <a:pPr algn="just"/>
            <a:r>
              <a:rPr lang="en-IN" b="1" dirty="0" smtClean="0">
                <a:solidFill>
                  <a:schemeClr val="tx2"/>
                </a:solidFill>
              </a:rPr>
              <a:t>What is a Scrollbar?</a:t>
            </a:r>
          </a:p>
          <a:p>
            <a:pPr algn="just"/>
            <a:endParaRPr lang="en-IN" b="1" dirty="0" smtClean="0">
              <a:solidFill>
                <a:schemeClr val="tx2"/>
              </a:solidFill>
            </a:endParaRPr>
          </a:p>
          <a:p>
            <a:pPr algn="just"/>
            <a:r>
              <a:rPr lang="en-IN" dirty="0" smtClean="0">
                <a:solidFill>
                  <a:schemeClr val="tx2"/>
                </a:solidFill>
              </a:rPr>
              <a:t>A Scrollbar is a lets you move around screen in horizontal or vertical direction if the current page scroll does not fit the visible area of the screen. It is used to move the window up and down.</a:t>
            </a:r>
          </a:p>
          <a:p>
            <a:pPr algn="just"/>
            <a:endParaRPr lang="en-IN" dirty="0" smtClean="0">
              <a:solidFill>
                <a:schemeClr val="tx2"/>
              </a:solidFill>
            </a:endParaRPr>
          </a:p>
          <a:p>
            <a:pPr algn="just"/>
            <a:r>
              <a:rPr lang="en-IN" dirty="0" smtClean="0">
                <a:solidFill>
                  <a:schemeClr val="tx2"/>
                </a:solidFill>
              </a:rPr>
              <a:t>Scroll bar is of two type: </a:t>
            </a:r>
            <a:r>
              <a:rPr lang="en-IN" b="1" dirty="0" smtClean="0">
                <a:solidFill>
                  <a:schemeClr val="tx2"/>
                </a:solidFill>
              </a:rPr>
              <a:t>Horizontal</a:t>
            </a:r>
            <a:r>
              <a:rPr lang="en-IN" dirty="0" smtClean="0">
                <a:solidFill>
                  <a:schemeClr val="tx2"/>
                </a:solidFill>
              </a:rPr>
              <a:t> and </a:t>
            </a:r>
            <a:r>
              <a:rPr lang="en-IN" b="1" dirty="0" smtClean="0">
                <a:solidFill>
                  <a:schemeClr val="tx2"/>
                </a:solidFill>
              </a:rPr>
              <a:t>vertical</a:t>
            </a:r>
            <a:r>
              <a:rPr lang="en-IN" dirty="0" smtClean="0">
                <a:solidFill>
                  <a:schemeClr val="tx2"/>
                </a:solidFill>
              </a:rPr>
              <a:t> scroll bar as shown in below screenshot.</a:t>
            </a:r>
          </a:p>
          <a:p>
            <a:pPr algn="just"/>
            <a:endParaRPr lang="en-IN" dirty="0" smtClean="0">
              <a:solidFill>
                <a:schemeClr val="tx2"/>
              </a:solidFill>
            </a:endParaRPr>
          </a:p>
          <a:p>
            <a:pPr algn="just"/>
            <a:r>
              <a:rPr lang="en-IN" b="1" dirty="0" smtClean="0">
                <a:solidFill>
                  <a:schemeClr val="tx2"/>
                </a:solidFill>
              </a:rPr>
              <a:t>Scroll in Selenium</a:t>
            </a:r>
          </a:p>
          <a:p>
            <a:pPr algn="just"/>
            <a:endParaRPr lang="en-IN" b="1" dirty="0" smtClean="0">
              <a:solidFill>
                <a:schemeClr val="tx2"/>
              </a:solidFill>
            </a:endParaRPr>
          </a:p>
          <a:p>
            <a:pPr algn="just"/>
            <a:r>
              <a:rPr lang="en-IN" dirty="0" smtClean="0">
                <a:solidFill>
                  <a:schemeClr val="tx2"/>
                </a:solidFill>
              </a:rPr>
              <a:t>To scroll using Selenium, you can use </a:t>
            </a:r>
            <a:r>
              <a:rPr lang="en-IN" dirty="0" err="1" smtClean="0">
                <a:solidFill>
                  <a:schemeClr val="tx2"/>
                </a:solidFill>
              </a:rPr>
              <a:t>JavaScriptExecutor</a:t>
            </a:r>
            <a:r>
              <a:rPr lang="en-IN" dirty="0" smtClean="0">
                <a:solidFill>
                  <a:schemeClr val="tx2"/>
                </a:solidFill>
              </a:rPr>
              <a:t> interface that helps to execute JavaScript methods through Selenium Webdriver</a:t>
            </a:r>
          </a:p>
          <a:p>
            <a:pPr algn="just"/>
            <a:endParaRPr lang="en-IN" dirty="0" smtClean="0">
              <a:solidFill>
                <a:schemeClr val="tx2"/>
              </a:solidFill>
            </a:endParaRPr>
          </a:p>
          <a:p>
            <a:pPr algn="just"/>
            <a:r>
              <a:rPr lang="en-IN" i="1" dirty="0" smtClean="0">
                <a:solidFill>
                  <a:schemeClr val="tx2"/>
                </a:solidFill>
              </a:rPr>
              <a:t>Syntax :</a:t>
            </a:r>
          </a:p>
          <a:p>
            <a:r>
              <a:rPr lang="en-IN" i="1" dirty="0" err="1" smtClean="0">
                <a:solidFill>
                  <a:schemeClr val="tx2"/>
                </a:solidFill>
              </a:rPr>
              <a:t>JavascriptExecutor</a:t>
            </a:r>
            <a:r>
              <a:rPr lang="en-IN" i="1" dirty="0" smtClean="0">
                <a:solidFill>
                  <a:schemeClr val="tx2"/>
                </a:solidFill>
              </a:rPr>
              <a:t> </a:t>
            </a:r>
            <a:r>
              <a:rPr lang="en-IN" i="1" dirty="0" err="1" smtClean="0">
                <a:solidFill>
                  <a:schemeClr val="tx2"/>
                </a:solidFill>
              </a:rPr>
              <a:t>js</a:t>
            </a:r>
            <a:r>
              <a:rPr lang="en-IN" i="1" dirty="0" smtClean="0">
                <a:solidFill>
                  <a:schemeClr val="tx2"/>
                </a:solidFill>
              </a:rPr>
              <a:t> = (</a:t>
            </a:r>
            <a:r>
              <a:rPr lang="en-IN" i="1" dirty="0" err="1" smtClean="0">
                <a:solidFill>
                  <a:schemeClr val="tx2"/>
                </a:solidFill>
              </a:rPr>
              <a:t>JavascriptExecutor</a:t>
            </a:r>
            <a:r>
              <a:rPr lang="en-IN" i="1" dirty="0" smtClean="0">
                <a:solidFill>
                  <a:schemeClr val="tx2"/>
                </a:solidFill>
              </a:rPr>
              <a:t>) driver; </a:t>
            </a:r>
            <a:r>
              <a:rPr lang="en-IN" i="1" dirty="0" err="1" smtClean="0">
                <a:solidFill>
                  <a:schemeClr val="tx2"/>
                </a:solidFill>
              </a:rPr>
              <a:t>js.executeScript</a:t>
            </a:r>
            <a:r>
              <a:rPr lang="en-IN" i="1" dirty="0" smtClean="0">
                <a:solidFill>
                  <a:schemeClr val="tx2"/>
                </a:solidFill>
              </a:rPr>
              <a:t>(</a:t>
            </a:r>
            <a:r>
              <a:rPr lang="en-IN" i="1" dirty="0" err="1" smtClean="0">
                <a:solidFill>
                  <a:schemeClr val="tx2"/>
                </a:solidFill>
              </a:rPr>
              <a:t>Script,Arguments</a:t>
            </a:r>
            <a:r>
              <a:rPr lang="en-IN" i="1" dirty="0" smtClean="0">
                <a:solidFill>
                  <a:schemeClr val="tx2"/>
                </a:solidFill>
              </a:rPr>
              <a:t>);</a:t>
            </a:r>
          </a:p>
          <a:p>
            <a:pPr algn="just"/>
            <a:endParaRPr lang="en-IN" i="1" dirty="0" smtClean="0">
              <a:solidFill>
                <a:schemeClr val="tx2"/>
              </a:solidFill>
            </a:endParaRPr>
          </a:p>
          <a:p>
            <a:pPr algn="just"/>
            <a:r>
              <a:rPr lang="en-IN" i="1" dirty="0" smtClean="0">
                <a:solidFill>
                  <a:schemeClr val="tx2"/>
                </a:solidFill>
              </a:rPr>
              <a:t>Script – This is the JavaScript that needs to execute.</a:t>
            </a:r>
          </a:p>
          <a:p>
            <a:pPr algn="just"/>
            <a:r>
              <a:rPr lang="en-IN" i="1" dirty="0" smtClean="0">
                <a:solidFill>
                  <a:schemeClr val="tx2"/>
                </a:solidFill>
              </a:rPr>
              <a:t>Arguments – It is the arguments to the script. It's optional</a:t>
            </a:r>
            <a:r>
              <a:rPr lang="en-IN" i="1" dirty="0" smtClean="0">
                <a:solidFill>
                  <a:schemeClr val="tx2"/>
                </a:solidFill>
              </a:rPr>
              <a:t>.</a:t>
            </a:r>
            <a:endParaRPr lang="en-IN" i="1" dirty="0">
              <a:solidFill>
                <a:schemeClr val="tx2"/>
              </a:solidFill>
            </a:endParaRPr>
          </a:p>
        </p:txBody>
      </p:sp>
    </p:spTree>
    <p:extLst>
      <p:ext uri="{BB962C8B-B14F-4D97-AF65-F5344CB8AC3E}">
        <p14:creationId xmlns:p14="http://schemas.microsoft.com/office/powerpoint/2010/main" val="31971837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22610595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croll up and down in Selenium Webdriver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TextBox 5"/>
          <p:cNvSpPr txBox="1"/>
          <p:nvPr/>
        </p:nvSpPr>
        <p:spPr>
          <a:xfrm>
            <a:off x="927100" y="762000"/>
            <a:ext cx="7366000" cy="5632311"/>
          </a:xfrm>
          <a:prstGeom prst="rect">
            <a:avLst/>
          </a:prstGeom>
          <a:noFill/>
        </p:spPr>
        <p:txBody>
          <a:bodyPr wrap="square" rtlCol="0">
            <a:spAutoFit/>
          </a:bodyPr>
          <a:lstStyle/>
          <a:p>
            <a:r>
              <a:rPr lang="en-IN" b="1" dirty="0" smtClean="0">
                <a:solidFill>
                  <a:srgbClr val="B42359"/>
                </a:solidFill>
              </a:rPr>
              <a:t>Scenario 1: To scroll down the web page by pixel.</a:t>
            </a:r>
            <a:endParaRPr lang="en-IN" dirty="0" smtClean="0"/>
          </a:p>
          <a:p>
            <a:r>
              <a:rPr lang="en-IN" i="1" dirty="0" err="1" smtClean="0">
                <a:solidFill>
                  <a:schemeClr val="tx2"/>
                </a:solidFill>
              </a:rPr>
              <a:t>JavascriptExecutor</a:t>
            </a:r>
            <a:r>
              <a:rPr lang="en-IN" i="1" dirty="0" smtClean="0">
                <a:solidFill>
                  <a:schemeClr val="tx2"/>
                </a:solidFill>
              </a:rPr>
              <a:t> </a:t>
            </a:r>
            <a:r>
              <a:rPr lang="en-IN" i="1" dirty="0" err="1" smtClean="0">
                <a:solidFill>
                  <a:schemeClr val="tx2"/>
                </a:solidFill>
              </a:rPr>
              <a:t>js</a:t>
            </a:r>
            <a:r>
              <a:rPr lang="en-IN" i="1" dirty="0" smtClean="0">
                <a:solidFill>
                  <a:schemeClr val="tx2"/>
                </a:solidFill>
              </a:rPr>
              <a:t> = (</a:t>
            </a:r>
            <a:r>
              <a:rPr lang="en-IN" i="1" dirty="0" err="1" smtClean="0">
                <a:solidFill>
                  <a:schemeClr val="tx2"/>
                </a:solidFill>
              </a:rPr>
              <a:t>JavascriptExecutor</a:t>
            </a:r>
            <a:r>
              <a:rPr lang="en-IN" i="1" dirty="0" smtClean="0">
                <a:solidFill>
                  <a:schemeClr val="tx2"/>
                </a:solidFill>
              </a:rPr>
              <a:t>) driver;</a:t>
            </a:r>
          </a:p>
          <a:p>
            <a:r>
              <a:rPr lang="en-IN" i="1" dirty="0" err="1" smtClean="0">
                <a:solidFill>
                  <a:schemeClr val="tx2"/>
                </a:solidFill>
              </a:rPr>
              <a:t>js.executeScript</a:t>
            </a:r>
            <a:r>
              <a:rPr lang="en-IN" i="1" dirty="0" smtClean="0">
                <a:solidFill>
                  <a:schemeClr val="tx2"/>
                </a:solidFill>
              </a:rPr>
              <a:t>("</a:t>
            </a:r>
            <a:r>
              <a:rPr lang="en-IN" i="1" dirty="0" err="1" smtClean="0">
                <a:solidFill>
                  <a:schemeClr val="tx2"/>
                </a:solidFill>
              </a:rPr>
              <a:t>window.scrollBy</a:t>
            </a:r>
            <a:r>
              <a:rPr lang="en-IN" i="1" dirty="0" smtClean="0">
                <a:solidFill>
                  <a:schemeClr val="tx2"/>
                </a:solidFill>
              </a:rPr>
              <a:t>(0,1000)");</a:t>
            </a:r>
          </a:p>
          <a:p>
            <a:endParaRPr lang="en-IN" i="1" dirty="0" smtClean="0">
              <a:solidFill>
                <a:srgbClr val="00B050"/>
              </a:solidFill>
            </a:endParaRPr>
          </a:p>
          <a:p>
            <a:r>
              <a:rPr lang="en-IN" b="1" dirty="0" smtClean="0">
                <a:solidFill>
                  <a:srgbClr val="B42359"/>
                </a:solidFill>
              </a:rPr>
              <a:t>Scenario 2: To scroll down the web page by the visibility of the element.</a:t>
            </a:r>
          </a:p>
          <a:p>
            <a:r>
              <a:rPr lang="en-IN" i="1" dirty="0" err="1" smtClean="0">
                <a:solidFill>
                  <a:schemeClr val="tx2"/>
                </a:solidFill>
              </a:rPr>
              <a:t>JavascriptExecutor</a:t>
            </a:r>
            <a:r>
              <a:rPr lang="en-IN" i="1" dirty="0" smtClean="0">
                <a:solidFill>
                  <a:schemeClr val="tx2"/>
                </a:solidFill>
              </a:rPr>
              <a:t> </a:t>
            </a:r>
            <a:r>
              <a:rPr lang="en-IN" i="1" dirty="0" err="1" smtClean="0">
                <a:solidFill>
                  <a:schemeClr val="tx2"/>
                </a:solidFill>
              </a:rPr>
              <a:t>js</a:t>
            </a:r>
            <a:r>
              <a:rPr lang="en-IN" i="1" dirty="0" smtClean="0">
                <a:solidFill>
                  <a:schemeClr val="tx2"/>
                </a:solidFill>
              </a:rPr>
              <a:t> = (</a:t>
            </a:r>
            <a:r>
              <a:rPr lang="en-IN" i="1" dirty="0" err="1" smtClean="0">
                <a:solidFill>
                  <a:schemeClr val="tx2"/>
                </a:solidFill>
              </a:rPr>
              <a:t>JavascriptExecutor</a:t>
            </a:r>
            <a:r>
              <a:rPr lang="en-IN" i="1" dirty="0" smtClean="0">
                <a:solidFill>
                  <a:schemeClr val="tx2"/>
                </a:solidFill>
              </a:rPr>
              <a:t>) driver;</a:t>
            </a:r>
          </a:p>
          <a:p>
            <a:r>
              <a:rPr lang="en-IN" i="1" dirty="0" err="1" smtClean="0">
                <a:solidFill>
                  <a:schemeClr val="tx2"/>
                </a:solidFill>
              </a:rPr>
              <a:t>WebElement</a:t>
            </a:r>
            <a:r>
              <a:rPr lang="en-IN" i="1" dirty="0" smtClean="0">
                <a:solidFill>
                  <a:schemeClr val="tx2"/>
                </a:solidFill>
              </a:rPr>
              <a:t> Element = </a:t>
            </a:r>
            <a:r>
              <a:rPr lang="en-IN" i="1" dirty="0" err="1" smtClean="0">
                <a:solidFill>
                  <a:schemeClr val="tx2"/>
                </a:solidFill>
              </a:rPr>
              <a:t>driver.findElement</a:t>
            </a:r>
            <a:r>
              <a:rPr lang="en-IN" i="1" dirty="0" smtClean="0">
                <a:solidFill>
                  <a:schemeClr val="tx2"/>
                </a:solidFill>
              </a:rPr>
              <a:t>(</a:t>
            </a:r>
            <a:r>
              <a:rPr lang="en-IN" i="1" dirty="0" err="1" smtClean="0">
                <a:solidFill>
                  <a:schemeClr val="tx2"/>
                </a:solidFill>
              </a:rPr>
              <a:t>By.linkText</a:t>
            </a:r>
            <a:r>
              <a:rPr lang="en-IN" i="1" dirty="0" smtClean="0">
                <a:solidFill>
                  <a:schemeClr val="tx2"/>
                </a:solidFill>
              </a:rPr>
              <a:t>("Linux")); </a:t>
            </a:r>
          </a:p>
          <a:p>
            <a:r>
              <a:rPr lang="en-IN" i="1" dirty="0" smtClean="0">
                <a:solidFill>
                  <a:schemeClr val="tx2"/>
                </a:solidFill>
              </a:rPr>
              <a:t>//This will scroll the page till the element is found </a:t>
            </a:r>
            <a:r>
              <a:rPr lang="en-IN" i="1" dirty="0" err="1" smtClean="0">
                <a:solidFill>
                  <a:schemeClr val="tx2"/>
                </a:solidFill>
              </a:rPr>
              <a:t>js.executeScript</a:t>
            </a:r>
            <a:r>
              <a:rPr lang="en-IN" i="1" dirty="0" smtClean="0">
                <a:solidFill>
                  <a:schemeClr val="tx2"/>
                </a:solidFill>
              </a:rPr>
              <a:t>("arguments[0].</a:t>
            </a:r>
            <a:r>
              <a:rPr lang="en-IN" i="1" dirty="0" err="1" smtClean="0">
                <a:solidFill>
                  <a:schemeClr val="tx2"/>
                </a:solidFill>
              </a:rPr>
              <a:t>scrollIntoView</a:t>
            </a:r>
            <a:r>
              <a:rPr lang="en-IN" i="1" dirty="0" smtClean="0">
                <a:solidFill>
                  <a:schemeClr val="tx2"/>
                </a:solidFill>
              </a:rPr>
              <a:t>();", Element)</a:t>
            </a:r>
          </a:p>
          <a:p>
            <a:endParaRPr lang="en-IN" i="1" dirty="0" smtClean="0">
              <a:solidFill>
                <a:srgbClr val="00B050"/>
              </a:solidFill>
            </a:endParaRPr>
          </a:p>
          <a:p>
            <a:r>
              <a:rPr lang="en-IN" b="1" dirty="0" smtClean="0">
                <a:solidFill>
                  <a:srgbClr val="B42359"/>
                </a:solidFill>
              </a:rPr>
              <a:t>Scenario 3: To scroll down the web page at the bottom of the page.</a:t>
            </a:r>
          </a:p>
          <a:p>
            <a:r>
              <a:rPr lang="en-IN" i="1" dirty="0" err="1" smtClean="0">
                <a:solidFill>
                  <a:schemeClr val="tx2"/>
                </a:solidFill>
              </a:rPr>
              <a:t>JavascriptExecutor</a:t>
            </a:r>
            <a:r>
              <a:rPr lang="en-IN" i="1" dirty="0" smtClean="0">
                <a:solidFill>
                  <a:schemeClr val="tx2"/>
                </a:solidFill>
              </a:rPr>
              <a:t> </a:t>
            </a:r>
            <a:r>
              <a:rPr lang="en-IN" i="1" dirty="0" err="1" smtClean="0">
                <a:solidFill>
                  <a:schemeClr val="tx2"/>
                </a:solidFill>
              </a:rPr>
              <a:t>js</a:t>
            </a:r>
            <a:r>
              <a:rPr lang="en-IN" i="1" dirty="0" smtClean="0">
                <a:solidFill>
                  <a:schemeClr val="tx2"/>
                </a:solidFill>
              </a:rPr>
              <a:t> = (</a:t>
            </a:r>
            <a:r>
              <a:rPr lang="en-IN" i="1" dirty="0" err="1" smtClean="0">
                <a:solidFill>
                  <a:schemeClr val="tx2"/>
                </a:solidFill>
              </a:rPr>
              <a:t>JavascriptExecutor</a:t>
            </a:r>
            <a:r>
              <a:rPr lang="en-IN" i="1" dirty="0" smtClean="0">
                <a:solidFill>
                  <a:schemeClr val="tx2"/>
                </a:solidFill>
              </a:rPr>
              <a:t>) driver; </a:t>
            </a:r>
            <a:br>
              <a:rPr lang="en-IN" i="1" dirty="0" smtClean="0">
                <a:solidFill>
                  <a:schemeClr val="tx2"/>
                </a:solidFill>
              </a:rPr>
            </a:br>
            <a:r>
              <a:rPr lang="en-IN" i="1" dirty="0" smtClean="0">
                <a:solidFill>
                  <a:schemeClr val="tx2"/>
                </a:solidFill>
              </a:rPr>
              <a:t>//This will scroll the web page till end. </a:t>
            </a:r>
          </a:p>
          <a:p>
            <a:r>
              <a:rPr lang="en-IN" i="1" dirty="0" err="1" smtClean="0">
                <a:solidFill>
                  <a:schemeClr val="tx2"/>
                </a:solidFill>
              </a:rPr>
              <a:t>js.executeScript</a:t>
            </a:r>
            <a:r>
              <a:rPr lang="en-IN" i="1" dirty="0" smtClean="0">
                <a:solidFill>
                  <a:schemeClr val="tx2"/>
                </a:solidFill>
              </a:rPr>
              <a:t>("</a:t>
            </a:r>
            <a:r>
              <a:rPr lang="en-IN" i="1" dirty="0" err="1" smtClean="0">
                <a:solidFill>
                  <a:schemeClr val="tx2"/>
                </a:solidFill>
              </a:rPr>
              <a:t>window.scrollTo</a:t>
            </a:r>
            <a:r>
              <a:rPr lang="en-IN" i="1" dirty="0" smtClean="0">
                <a:solidFill>
                  <a:schemeClr val="tx2"/>
                </a:solidFill>
              </a:rPr>
              <a:t>(0, </a:t>
            </a:r>
            <a:r>
              <a:rPr lang="en-IN" i="1" dirty="0" err="1" smtClean="0">
                <a:solidFill>
                  <a:schemeClr val="tx2"/>
                </a:solidFill>
              </a:rPr>
              <a:t>document.body.scrollHeight</a:t>
            </a:r>
            <a:r>
              <a:rPr lang="en-IN" i="1" dirty="0" smtClean="0">
                <a:solidFill>
                  <a:schemeClr val="tx2"/>
                </a:solidFill>
              </a:rPr>
              <a:t>)")</a:t>
            </a:r>
          </a:p>
          <a:p>
            <a:endParaRPr lang="en-IN" i="1" dirty="0" smtClean="0">
              <a:solidFill>
                <a:srgbClr val="00B050"/>
              </a:solidFill>
            </a:endParaRPr>
          </a:p>
          <a:p>
            <a:r>
              <a:rPr lang="en-IN" b="1" dirty="0" smtClean="0">
                <a:solidFill>
                  <a:srgbClr val="B42359"/>
                </a:solidFill>
              </a:rPr>
              <a:t>Scenario 4: Horizontal scroll on the web page.</a:t>
            </a:r>
          </a:p>
          <a:p>
            <a:r>
              <a:rPr lang="en-IN" dirty="0" smtClean="0">
                <a:solidFill>
                  <a:schemeClr val="tx2"/>
                </a:solidFill>
              </a:rPr>
              <a:t>// horizontally right</a:t>
            </a:r>
          </a:p>
          <a:p>
            <a:r>
              <a:rPr lang="en-IN" dirty="0" smtClean="0">
                <a:solidFill>
                  <a:schemeClr val="tx2"/>
                </a:solidFill>
              </a:rPr>
              <a:t>((</a:t>
            </a:r>
            <a:r>
              <a:rPr lang="en-IN" dirty="0" err="1" smtClean="0">
                <a:solidFill>
                  <a:schemeClr val="tx2"/>
                </a:solidFill>
              </a:rPr>
              <a:t>JavascriptExecutor</a:t>
            </a:r>
            <a:r>
              <a:rPr lang="en-IN" dirty="0" smtClean="0">
                <a:solidFill>
                  <a:schemeClr val="tx2"/>
                </a:solidFill>
              </a:rPr>
              <a:t>)driver).</a:t>
            </a:r>
            <a:r>
              <a:rPr lang="en-IN" dirty="0" err="1" smtClean="0">
                <a:solidFill>
                  <a:schemeClr val="tx2"/>
                </a:solidFill>
              </a:rPr>
              <a:t>executeScript</a:t>
            </a:r>
            <a:r>
              <a:rPr lang="en-IN" dirty="0" smtClean="0">
                <a:solidFill>
                  <a:schemeClr val="tx2"/>
                </a:solidFill>
              </a:rPr>
              <a:t>(“</a:t>
            </a:r>
            <a:r>
              <a:rPr lang="en-IN" dirty="0" err="1" smtClean="0">
                <a:solidFill>
                  <a:schemeClr val="tx2"/>
                </a:solidFill>
              </a:rPr>
              <a:t>window.scrollBy</a:t>
            </a:r>
            <a:r>
              <a:rPr lang="en-IN" dirty="0" smtClean="0">
                <a:solidFill>
                  <a:schemeClr val="tx2"/>
                </a:solidFill>
              </a:rPr>
              <a:t>(2000,0)”);</a:t>
            </a:r>
          </a:p>
          <a:p>
            <a:r>
              <a:rPr lang="en-IN" dirty="0" smtClean="0">
                <a:solidFill>
                  <a:schemeClr val="tx2"/>
                </a:solidFill>
              </a:rPr>
              <a:t>//horizontally left</a:t>
            </a:r>
          </a:p>
          <a:p>
            <a:r>
              <a:rPr lang="en-IN" dirty="0" smtClean="0">
                <a:solidFill>
                  <a:schemeClr val="tx2"/>
                </a:solidFill>
              </a:rPr>
              <a:t>((</a:t>
            </a:r>
            <a:r>
              <a:rPr lang="en-IN" dirty="0" err="1" smtClean="0">
                <a:solidFill>
                  <a:schemeClr val="tx2"/>
                </a:solidFill>
              </a:rPr>
              <a:t>JavascriptExecutor</a:t>
            </a:r>
            <a:r>
              <a:rPr lang="en-IN" dirty="0" smtClean="0">
                <a:solidFill>
                  <a:schemeClr val="tx2"/>
                </a:solidFill>
              </a:rPr>
              <a:t>)driver).</a:t>
            </a:r>
            <a:r>
              <a:rPr lang="en-IN" dirty="0" err="1" smtClean="0">
                <a:solidFill>
                  <a:schemeClr val="tx2"/>
                </a:solidFill>
              </a:rPr>
              <a:t>executeScript</a:t>
            </a:r>
            <a:r>
              <a:rPr lang="en-IN" dirty="0" smtClean="0">
                <a:solidFill>
                  <a:schemeClr val="tx2"/>
                </a:solidFill>
              </a:rPr>
              <a:t>(“</a:t>
            </a:r>
            <a:r>
              <a:rPr lang="en-IN" dirty="0" err="1" smtClean="0">
                <a:solidFill>
                  <a:schemeClr val="tx2"/>
                </a:solidFill>
              </a:rPr>
              <a:t>window.scrollBy</a:t>
            </a:r>
            <a:r>
              <a:rPr lang="en-IN" dirty="0" smtClean="0">
                <a:solidFill>
                  <a:schemeClr val="tx2"/>
                </a:solidFill>
              </a:rPr>
              <a:t>(-2000,0</a:t>
            </a:r>
            <a:r>
              <a:rPr lang="en-IN" dirty="0" smtClean="0">
                <a:solidFill>
                  <a:schemeClr val="tx2"/>
                </a:solidFill>
              </a:rPr>
              <a:t>)”);</a:t>
            </a:r>
            <a:endParaRPr lang="en-IN" i="1" dirty="0">
              <a:solidFill>
                <a:schemeClr val="tx2"/>
              </a:solidFill>
            </a:endParaRPr>
          </a:p>
        </p:txBody>
      </p:sp>
    </p:spTree>
    <p:extLst>
      <p:ext uri="{BB962C8B-B14F-4D97-AF65-F5344CB8AC3E}">
        <p14:creationId xmlns:p14="http://schemas.microsoft.com/office/powerpoint/2010/main" val="25205375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165100"/>
            <a:ext cx="8019254" cy="430887"/>
          </a:xfrm>
        </p:spPr>
        <p:txBody>
          <a:bodyPr/>
          <a:lstStyle/>
          <a:p>
            <a:r>
              <a:rPr lang="en-IN" dirty="0" smtClean="0"/>
              <a:t>ToolTip Verification</a:t>
            </a:r>
            <a:endParaRPr lang="en-IN" dirty="0"/>
          </a:p>
        </p:txBody>
      </p:sp>
      <p:sp>
        <p:nvSpPr>
          <p:cNvPr id="6" name="TextBox 5"/>
          <p:cNvSpPr txBox="1"/>
          <p:nvPr/>
        </p:nvSpPr>
        <p:spPr>
          <a:xfrm>
            <a:off x="654050" y="637781"/>
            <a:ext cx="7366000" cy="1477328"/>
          </a:xfrm>
          <a:prstGeom prst="rect">
            <a:avLst/>
          </a:prstGeom>
          <a:noFill/>
        </p:spPr>
        <p:txBody>
          <a:bodyPr wrap="square" rtlCol="0">
            <a:spAutoFit/>
          </a:bodyPr>
          <a:lstStyle/>
          <a:p>
            <a:pPr algn="just"/>
            <a:r>
              <a:rPr lang="en-IN" dirty="0" smtClean="0">
                <a:solidFill>
                  <a:schemeClr val="tx2"/>
                </a:solidFill>
              </a:rPr>
              <a:t>The tooltip is a text that appears when a mouse hovers over an object like a link, an image, a button, text area, etc. in a web page. The text often gives more information about the object on which it </a:t>
            </a:r>
            <a:r>
              <a:rPr lang="en-IN" dirty="0" smtClean="0">
                <a:solidFill>
                  <a:schemeClr val="tx2"/>
                </a:solidFill>
              </a:rPr>
              <a:t>appears.</a:t>
            </a:r>
          </a:p>
          <a:p>
            <a:pPr algn="just"/>
            <a:endParaRPr lang="en-IN" dirty="0" smtClean="0">
              <a:solidFill>
                <a:schemeClr val="tx2"/>
              </a:solidFill>
            </a:endParaRPr>
          </a:p>
          <a:p>
            <a:pPr algn="just"/>
            <a:r>
              <a:rPr lang="en-IN" b="1" i="1" dirty="0" smtClean="0">
                <a:solidFill>
                  <a:srgbClr val="00B050"/>
                </a:solidFill>
              </a:rPr>
              <a:t>Method 1:</a:t>
            </a:r>
            <a:endParaRPr lang="en-IN" i="1" dirty="0">
              <a:solidFill>
                <a:srgbClr val="00B050"/>
              </a:solidFill>
            </a:endParaRPr>
          </a:p>
        </p:txBody>
      </p:sp>
      <p:pic>
        <p:nvPicPr>
          <p:cNvPr id="1026" name="Picture 2"/>
          <p:cNvPicPr>
            <a:picLocks noChangeAspect="1" noChangeArrowheads="1"/>
          </p:cNvPicPr>
          <p:nvPr/>
        </p:nvPicPr>
        <p:blipFill>
          <a:blip r:embed="rId3"/>
          <a:srcRect/>
          <a:stretch>
            <a:fillRect/>
          </a:stretch>
        </p:blipFill>
        <p:spPr bwMode="auto">
          <a:xfrm>
            <a:off x="1478744" y="2156903"/>
            <a:ext cx="5437211" cy="3180767"/>
          </a:xfrm>
          <a:prstGeom prst="rect">
            <a:avLst/>
          </a:prstGeom>
          <a:noFill/>
          <a:ln w="9525">
            <a:noFill/>
            <a:miter lim="800000"/>
            <a:headEnd/>
            <a:tailEnd/>
          </a:ln>
          <a:effectLst/>
        </p:spPr>
      </p:pic>
      <p:sp>
        <p:nvSpPr>
          <p:cNvPr id="9" name="Rectangle 8"/>
          <p:cNvSpPr/>
          <p:nvPr/>
        </p:nvSpPr>
        <p:spPr>
          <a:xfrm>
            <a:off x="723900" y="5555535"/>
            <a:ext cx="7226300" cy="646331"/>
          </a:xfrm>
          <a:prstGeom prst="rect">
            <a:avLst/>
          </a:prstGeom>
        </p:spPr>
        <p:txBody>
          <a:bodyPr wrap="square">
            <a:spAutoFit/>
          </a:bodyPr>
          <a:lstStyle/>
          <a:p>
            <a:r>
              <a:rPr lang="en-IN" i="1" dirty="0" err="1" smtClean="0">
                <a:solidFill>
                  <a:srgbClr val="123761"/>
                </a:solidFill>
              </a:rPr>
              <a:t>WebElement</a:t>
            </a:r>
            <a:r>
              <a:rPr lang="en-IN" i="1" dirty="0" smtClean="0">
                <a:solidFill>
                  <a:srgbClr val="123761"/>
                </a:solidFill>
              </a:rPr>
              <a:t> element = </a:t>
            </a:r>
            <a:r>
              <a:rPr lang="en-IN" i="1" dirty="0" err="1" smtClean="0">
                <a:solidFill>
                  <a:srgbClr val="123761"/>
                </a:solidFill>
              </a:rPr>
              <a:t>driver.findElement</a:t>
            </a:r>
            <a:r>
              <a:rPr lang="en-IN" i="1" dirty="0" smtClean="0">
                <a:solidFill>
                  <a:srgbClr val="123761"/>
                </a:solidFill>
              </a:rPr>
              <a:t>(</a:t>
            </a:r>
            <a:r>
              <a:rPr lang="en-IN" i="1" dirty="0" err="1" smtClean="0">
                <a:solidFill>
                  <a:srgbClr val="123761"/>
                </a:solidFill>
              </a:rPr>
              <a:t>By.cssSelector</a:t>
            </a:r>
            <a:r>
              <a:rPr lang="en-IN" i="1" dirty="0" smtClean="0">
                <a:solidFill>
                  <a:srgbClr val="123761"/>
                </a:solidFill>
              </a:rPr>
              <a:t>(".header")); </a:t>
            </a:r>
          </a:p>
          <a:p>
            <a:r>
              <a:rPr lang="en-IN" b="1" i="1" dirty="0" smtClean="0">
                <a:solidFill>
                  <a:srgbClr val="123761"/>
                </a:solidFill>
              </a:rPr>
              <a:t>String</a:t>
            </a:r>
            <a:r>
              <a:rPr lang="en-IN" i="1" dirty="0" smtClean="0">
                <a:solidFill>
                  <a:srgbClr val="123761"/>
                </a:solidFill>
              </a:rPr>
              <a:t> </a:t>
            </a:r>
            <a:r>
              <a:rPr lang="en-IN" i="1" dirty="0" err="1" smtClean="0">
                <a:solidFill>
                  <a:srgbClr val="123761"/>
                </a:solidFill>
              </a:rPr>
              <a:t>toolTipText</a:t>
            </a:r>
            <a:r>
              <a:rPr lang="en-IN" i="1" dirty="0" smtClean="0">
                <a:solidFill>
                  <a:srgbClr val="123761"/>
                </a:solidFill>
              </a:rPr>
              <a:t> = </a:t>
            </a:r>
            <a:r>
              <a:rPr lang="en-IN" i="1" dirty="0" err="1" smtClean="0">
                <a:solidFill>
                  <a:srgbClr val="123761"/>
                </a:solidFill>
              </a:rPr>
              <a:t>element.getAttribute</a:t>
            </a:r>
            <a:r>
              <a:rPr lang="en-IN" i="1" dirty="0" smtClean="0">
                <a:solidFill>
                  <a:srgbClr val="123761"/>
                </a:solidFill>
              </a:rPr>
              <a:t>("title");</a:t>
            </a:r>
            <a:endParaRPr lang="en-IN" i="1" dirty="0">
              <a:solidFill>
                <a:srgbClr val="123761"/>
              </a:solidFill>
            </a:endParaRPr>
          </a:p>
        </p:txBody>
      </p:sp>
    </p:spTree>
    <p:extLst>
      <p:ext uri="{BB962C8B-B14F-4D97-AF65-F5344CB8AC3E}">
        <p14:creationId xmlns:p14="http://schemas.microsoft.com/office/powerpoint/2010/main" val="9995202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ToolTip verification	</a:t>
            </a:r>
            <a:endParaRPr lang="en-IN" dirty="0"/>
          </a:p>
        </p:txBody>
      </p:sp>
      <p:sp>
        <p:nvSpPr>
          <p:cNvPr id="6" name="TextBox 5"/>
          <p:cNvSpPr txBox="1"/>
          <p:nvPr/>
        </p:nvSpPr>
        <p:spPr>
          <a:xfrm>
            <a:off x="927100" y="1096850"/>
            <a:ext cx="7366000" cy="4524315"/>
          </a:xfrm>
          <a:prstGeom prst="rect">
            <a:avLst/>
          </a:prstGeom>
          <a:noFill/>
        </p:spPr>
        <p:txBody>
          <a:bodyPr wrap="square" rtlCol="0">
            <a:spAutoFit/>
          </a:bodyPr>
          <a:lstStyle/>
          <a:p>
            <a:r>
              <a:rPr lang="en-IN" b="1" dirty="0" smtClean="0">
                <a:solidFill>
                  <a:srgbClr val="234E8F"/>
                </a:solidFill>
              </a:rPr>
              <a:t>Tool Tip verification with Actions class</a:t>
            </a:r>
          </a:p>
          <a:p>
            <a:r>
              <a:rPr lang="en-IN" i="1" dirty="0" smtClean="0">
                <a:solidFill>
                  <a:srgbClr val="234E8F"/>
                </a:solidFill>
              </a:rPr>
              <a:t>                 </a:t>
            </a:r>
            <a:r>
              <a:rPr lang="en-IN" i="1" dirty="0" err="1" smtClean="0">
                <a:solidFill>
                  <a:srgbClr val="234E8F"/>
                </a:solidFill>
              </a:rPr>
              <a:t>driver.navigate</a:t>
            </a:r>
            <a:r>
              <a:rPr lang="en-IN" i="1" dirty="0" smtClean="0">
                <a:solidFill>
                  <a:srgbClr val="234E8F"/>
                </a:solidFill>
              </a:rPr>
              <a:t>().to("https://jqueryui.com/tooltip/");</a:t>
            </a:r>
          </a:p>
          <a:p>
            <a:endParaRPr lang="en-IN" i="1" dirty="0" smtClean="0">
              <a:solidFill>
                <a:srgbClr val="234E8F"/>
              </a:solidFill>
            </a:endParaRPr>
          </a:p>
          <a:p>
            <a:r>
              <a:rPr lang="en-IN" i="1" dirty="0" smtClean="0">
                <a:solidFill>
                  <a:srgbClr val="234E8F"/>
                </a:solidFill>
              </a:rPr>
              <a:t>		// As there is frame, we have to navigate to frame</a:t>
            </a:r>
          </a:p>
          <a:p>
            <a:endParaRPr lang="en-IN" i="1" dirty="0" smtClean="0">
              <a:solidFill>
                <a:srgbClr val="234E8F"/>
              </a:solidFill>
            </a:endParaRPr>
          </a:p>
          <a:p>
            <a:r>
              <a:rPr lang="en-IN" i="1" dirty="0" smtClean="0">
                <a:solidFill>
                  <a:srgbClr val="234E8F"/>
                </a:solidFill>
              </a:rPr>
              <a:t>		</a:t>
            </a:r>
            <a:r>
              <a:rPr lang="en-IN" i="1" dirty="0" err="1" smtClean="0">
                <a:solidFill>
                  <a:srgbClr val="234E8F"/>
                </a:solidFill>
              </a:rPr>
              <a:t>WebDriverWait</a:t>
            </a:r>
            <a:r>
              <a:rPr lang="en-IN" i="1" dirty="0" smtClean="0">
                <a:solidFill>
                  <a:srgbClr val="234E8F"/>
                </a:solidFill>
              </a:rPr>
              <a:t> wait = new </a:t>
            </a:r>
            <a:r>
              <a:rPr lang="en-IN" i="1" dirty="0" err="1" smtClean="0">
                <a:solidFill>
                  <a:srgbClr val="234E8F"/>
                </a:solidFill>
              </a:rPr>
              <a:t>WebDriverWait</a:t>
            </a:r>
            <a:r>
              <a:rPr lang="en-IN" i="1" dirty="0" smtClean="0">
                <a:solidFill>
                  <a:srgbClr val="234E8F"/>
                </a:solidFill>
              </a:rPr>
              <a:t>(driver, 5);</a:t>
            </a:r>
          </a:p>
          <a:p>
            <a:endParaRPr lang="en-IN" i="1" dirty="0" smtClean="0">
              <a:solidFill>
                <a:srgbClr val="234E8F"/>
              </a:solidFill>
            </a:endParaRPr>
          </a:p>
          <a:p>
            <a:r>
              <a:rPr lang="en-IN" i="1" dirty="0" smtClean="0">
                <a:solidFill>
                  <a:srgbClr val="234E8F"/>
                </a:solidFill>
              </a:rPr>
              <a:t>	</a:t>
            </a:r>
            <a:r>
              <a:rPr lang="en-IN" i="1" dirty="0" err="1" smtClean="0">
                <a:solidFill>
                  <a:srgbClr val="234E8F"/>
                </a:solidFill>
              </a:rPr>
              <a:t>wait.until</a:t>
            </a:r>
            <a:r>
              <a:rPr lang="en-IN" i="1" dirty="0" smtClean="0">
                <a:solidFill>
                  <a:srgbClr val="234E8F"/>
                </a:solidFill>
              </a:rPr>
              <a:t>(</a:t>
            </a:r>
            <a:r>
              <a:rPr lang="en-IN" i="1" dirty="0" err="1" smtClean="0">
                <a:solidFill>
                  <a:srgbClr val="234E8F"/>
                </a:solidFill>
              </a:rPr>
              <a:t>ExpectedConditions.frameToBeAvailableAndSwitchToIt</a:t>
            </a:r>
            <a:r>
              <a:rPr lang="en-IN" i="1" dirty="0" smtClean="0">
                <a:solidFill>
                  <a:srgbClr val="234E8F"/>
                </a:solidFill>
              </a:rPr>
              <a:t>(</a:t>
            </a:r>
            <a:r>
              <a:rPr lang="en-IN" i="1" dirty="0" err="1" smtClean="0">
                <a:solidFill>
                  <a:srgbClr val="234E8F"/>
                </a:solidFill>
              </a:rPr>
              <a:t>By.cssSelector</a:t>
            </a:r>
            <a:r>
              <a:rPr lang="en-IN" i="1" dirty="0" smtClean="0">
                <a:solidFill>
                  <a:srgbClr val="234E8F"/>
                </a:solidFill>
              </a:rPr>
              <a:t>(".demo-frame")));</a:t>
            </a:r>
          </a:p>
          <a:p>
            <a:endParaRPr lang="en-IN" i="1" dirty="0" smtClean="0">
              <a:solidFill>
                <a:srgbClr val="234E8F"/>
              </a:solidFill>
            </a:endParaRPr>
          </a:p>
          <a:p>
            <a:r>
              <a:rPr lang="en-IN" i="1" dirty="0" smtClean="0">
                <a:solidFill>
                  <a:srgbClr val="234E8F"/>
                </a:solidFill>
              </a:rPr>
              <a:t>		// Text box field, where we mouse hover</a:t>
            </a:r>
          </a:p>
          <a:p>
            <a:endParaRPr lang="en-IN" i="1" dirty="0" smtClean="0">
              <a:solidFill>
                <a:srgbClr val="234E8F"/>
              </a:solidFill>
            </a:endParaRPr>
          </a:p>
          <a:p>
            <a:r>
              <a:rPr lang="en-IN" i="1" dirty="0" smtClean="0">
                <a:solidFill>
                  <a:srgbClr val="234E8F"/>
                </a:solidFill>
              </a:rPr>
              <a:t>		</a:t>
            </a:r>
            <a:r>
              <a:rPr lang="en-IN" i="1" dirty="0" err="1" smtClean="0">
                <a:solidFill>
                  <a:srgbClr val="234E8F"/>
                </a:solidFill>
              </a:rPr>
              <a:t>WebElement</a:t>
            </a:r>
            <a:r>
              <a:rPr lang="en-IN" i="1" dirty="0" smtClean="0">
                <a:solidFill>
                  <a:srgbClr val="234E8F"/>
                </a:solidFill>
              </a:rPr>
              <a:t> element = driver.findElement(By.id("age"));</a:t>
            </a:r>
          </a:p>
          <a:p>
            <a:endParaRPr lang="en-IN" i="1" dirty="0" smtClean="0">
              <a:solidFill>
                <a:srgbClr val="234E8F"/>
              </a:solidFill>
            </a:endParaRPr>
          </a:p>
          <a:p>
            <a:r>
              <a:rPr lang="en-IN" i="1" dirty="0" smtClean="0">
                <a:solidFill>
                  <a:srgbClr val="234E8F"/>
                </a:solidFill>
              </a:rPr>
              <a:t>		</a:t>
            </a:r>
          </a:p>
          <a:p>
            <a:r>
              <a:rPr lang="en-IN" i="1" dirty="0" smtClean="0">
                <a:solidFill>
                  <a:srgbClr val="234E8F"/>
                </a:solidFill>
              </a:rPr>
              <a:t>		</a:t>
            </a:r>
            <a:endParaRPr lang="en-IN" i="1" dirty="0">
              <a:solidFill>
                <a:srgbClr val="234E8F"/>
              </a:solidFill>
            </a:endParaRPr>
          </a:p>
        </p:txBody>
      </p:sp>
    </p:spTree>
    <p:extLst>
      <p:ext uri="{BB962C8B-B14F-4D97-AF65-F5344CB8AC3E}">
        <p14:creationId xmlns:p14="http://schemas.microsoft.com/office/powerpoint/2010/main" val="1993180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Tool Tip verification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TextBox 5"/>
          <p:cNvSpPr txBox="1"/>
          <p:nvPr/>
        </p:nvSpPr>
        <p:spPr>
          <a:xfrm>
            <a:off x="927100" y="762000"/>
            <a:ext cx="7366000" cy="3970318"/>
          </a:xfrm>
          <a:prstGeom prst="rect">
            <a:avLst/>
          </a:prstGeom>
          <a:noFill/>
        </p:spPr>
        <p:txBody>
          <a:bodyPr wrap="square" rtlCol="0">
            <a:spAutoFit/>
          </a:bodyPr>
          <a:lstStyle/>
          <a:p>
            <a:r>
              <a:rPr lang="en-IN" i="1" dirty="0" smtClean="0">
                <a:solidFill>
                  <a:srgbClr val="234E8F"/>
                </a:solidFill>
              </a:rPr>
              <a:t>// Use action class to mouse hover on Text box field</a:t>
            </a:r>
          </a:p>
          <a:p>
            <a:endParaRPr lang="en-IN" i="1" dirty="0" smtClean="0">
              <a:solidFill>
                <a:srgbClr val="234E8F"/>
              </a:solidFill>
            </a:endParaRPr>
          </a:p>
          <a:p>
            <a:r>
              <a:rPr lang="en-IN" i="1" dirty="0" smtClean="0">
                <a:solidFill>
                  <a:srgbClr val="234E8F"/>
                </a:solidFill>
              </a:rPr>
              <a:t>		Actions action = new Actions(driver);</a:t>
            </a:r>
          </a:p>
          <a:p>
            <a:endParaRPr lang="en-IN" i="1" dirty="0" smtClean="0">
              <a:solidFill>
                <a:srgbClr val="234E8F"/>
              </a:solidFill>
            </a:endParaRPr>
          </a:p>
          <a:p>
            <a:r>
              <a:rPr lang="en-IN" i="1" dirty="0" smtClean="0">
                <a:solidFill>
                  <a:srgbClr val="234E8F"/>
                </a:solidFill>
              </a:rPr>
              <a:t>		</a:t>
            </a:r>
            <a:r>
              <a:rPr lang="en-IN" i="1" dirty="0" err="1" smtClean="0">
                <a:solidFill>
                  <a:srgbClr val="234E8F"/>
                </a:solidFill>
              </a:rPr>
              <a:t>action.moveToElement</a:t>
            </a:r>
            <a:r>
              <a:rPr lang="en-IN" i="1" dirty="0" smtClean="0">
                <a:solidFill>
                  <a:srgbClr val="234E8F"/>
                </a:solidFill>
              </a:rPr>
              <a:t>(element).build().perform();</a:t>
            </a:r>
          </a:p>
          <a:p>
            <a:endParaRPr lang="en-IN" i="1" dirty="0" smtClean="0">
              <a:solidFill>
                <a:srgbClr val="234E8F"/>
              </a:solidFill>
            </a:endParaRPr>
          </a:p>
          <a:p>
            <a:r>
              <a:rPr lang="en-IN" i="1" dirty="0" smtClean="0">
                <a:solidFill>
                  <a:srgbClr val="234E8F"/>
                </a:solidFill>
              </a:rPr>
              <a:t>		</a:t>
            </a:r>
            <a:r>
              <a:rPr lang="en-IN" i="1" dirty="0" err="1" smtClean="0">
                <a:solidFill>
                  <a:srgbClr val="234E8F"/>
                </a:solidFill>
              </a:rPr>
              <a:t>WebElement</a:t>
            </a:r>
            <a:r>
              <a:rPr lang="en-IN" i="1" dirty="0" smtClean="0">
                <a:solidFill>
                  <a:srgbClr val="234E8F"/>
                </a:solidFill>
              </a:rPr>
              <a:t> </a:t>
            </a:r>
            <a:r>
              <a:rPr lang="en-IN" i="1" dirty="0" err="1" smtClean="0">
                <a:solidFill>
                  <a:srgbClr val="234E8F"/>
                </a:solidFill>
              </a:rPr>
              <a:t>toolTipElement</a:t>
            </a:r>
            <a:r>
              <a:rPr lang="en-IN" i="1" dirty="0" smtClean="0">
                <a:solidFill>
                  <a:srgbClr val="234E8F"/>
                </a:solidFill>
              </a:rPr>
              <a:t> = driver.findElement(</a:t>
            </a:r>
            <a:r>
              <a:rPr lang="en-IN" i="1" dirty="0" err="1" smtClean="0">
                <a:solidFill>
                  <a:srgbClr val="234E8F"/>
                </a:solidFill>
              </a:rPr>
              <a:t>By.cssSelector</a:t>
            </a:r>
            <a:r>
              <a:rPr lang="en-IN" i="1" dirty="0" smtClean="0">
                <a:solidFill>
                  <a:srgbClr val="234E8F"/>
                </a:solidFill>
              </a:rPr>
              <a:t>(".</a:t>
            </a:r>
            <a:r>
              <a:rPr lang="en-IN" i="1" dirty="0" err="1" smtClean="0">
                <a:solidFill>
                  <a:srgbClr val="234E8F"/>
                </a:solidFill>
              </a:rPr>
              <a:t>ui</a:t>
            </a:r>
            <a:r>
              <a:rPr lang="en-IN" i="1" dirty="0" smtClean="0">
                <a:solidFill>
                  <a:srgbClr val="234E8F"/>
                </a:solidFill>
              </a:rPr>
              <a:t>-tooltip"));</a:t>
            </a:r>
          </a:p>
          <a:p>
            <a:endParaRPr lang="en-IN" i="1" dirty="0" smtClean="0">
              <a:solidFill>
                <a:srgbClr val="234E8F"/>
              </a:solidFill>
            </a:endParaRPr>
          </a:p>
          <a:p>
            <a:r>
              <a:rPr lang="en-IN" i="1" dirty="0" smtClean="0">
                <a:solidFill>
                  <a:srgbClr val="234E8F"/>
                </a:solidFill>
              </a:rPr>
              <a:t>// To get the tool tip text and assert</a:t>
            </a:r>
          </a:p>
          <a:p>
            <a:r>
              <a:rPr lang="en-IN" i="1" dirty="0" smtClean="0">
                <a:solidFill>
                  <a:srgbClr val="234E8F"/>
                </a:solidFill>
              </a:rPr>
              <a:t>		String </a:t>
            </a:r>
            <a:r>
              <a:rPr lang="en-IN" i="1" dirty="0" err="1" smtClean="0">
                <a:solidFill>
                  <a:srgbClr val="234E8F"/>
                </a:solidFill>
              </a:rPr>
              <a:t>toolTipText</a:t>
            </a:r>
            <a:r>
              <a:rPr lang="en-IN" i="1" dirty="0" smtClean="0">
                <a:solidFill>
                  <a:srgbClr val="234E8F"/>
                </a:solidFill>
              </a:rPr>
              <a:t> = </a:t>
            </a:r>
            <a:r>
              <a:rPr lang="en-IN" i="1" dirty="0" err="1" smtClean="0">
                <a:solidFill>
                  <a:srgbClr val="234E8F"/>
                </a:solidFill>
              </a:rPr>
              <a:t>toolTipElement.getText</a:t>
            </a:r>
            <a:r>
              <a:rPr lang="en-IN" i="1" dirty="0" smtClean="0">
                <a:solidFill>
                  <a:srgbClr val="234E8F"/>
                </a:solidFill>
              </a:rPr>
              <a:t>();</a:t>
            </a:r>
          </a:p>
          <a:p>
            <a:endParaRPr lang="en-IN" i="1" dirty="0" smtClean="0">
              <a:solidFill>
                <a:srgbClr val="234E8F"/>
              </a:solidFill>
            </a:endParaRPr>
          </a:p>
          <a:p>
            <a:r>
              <a:rPr lang="en-IN" i="1" dirty="0" smtClean="0">
                <a:solidFill>
                  <a:srgbClr val="234E8F"/>
                </a:solidFill>
              </a:rPr>
              <a:t>		</a:t>
            </a:r>
            <a:r>
              <a:rPr lang="en-IN" i="1" dirty="0" err="1" smtClean="0">
                <a:solidFill>
                  <a:srgbClr val="234E8F"/>
                </a:solidFill>
              </a:rPr>
              <a:t>Assert.assertEquals</a:t>
            </a:r>
            <a:r>
              <a:rPr lang="en-IN" i="1" dirty="0" smtClean="0">
                <a:solidFill>
                  <a:srgbClr val="234E8F"/>
                </a:solidFill>
              </a:rPr>
              <a:t>("We ask for your age only for statistical purposes.", </a:t>
            </a:r>
            <a:r>
              <a:rPr lang="en-IN" i="1" dirty="0" err="1" smtClean="0">
                <a:solidFill>
                  <a:srgbClr val="234E8F"/>
                </a:solidFill>
              </a:rPr>
              <a:t>toolTipText</a:t>
            </a:r>
            <a:r>
              <a:rPr lang="en-IN" i="1" dirty="0" smtClean="0">
                <a:solidFill>
                  <a:srgbClr val="234E8F"/>
                </a:solidFill>
              </a:rPr>
              <a:t>);</a:t>
            </a:r>
            <a:endParaRPr lang="en-IN" i="1" dirty="0">
              <a:solidFill>
                <a:srgbClr val="234E8F"/>
              </a:solidFill>
            </a:endParaRPr>
          </a:p>
        </p:txBody>
      </p:sp>
      <p:pic>
        <p:nvPicPr>
          <p:cNvPr id="3074" name="Picture 2"/>
          <p:cNvPicPr>
            <a:picLocks noChangeAspect="1" noChangeArrowheads="1"/>
          </p:cNvPicPr>
          <p:nvPr/>
        </p:nvPicPr>
        <p:blipFill>
          <a:blip r:embed="rId3"/>
          <a:srcRect/>
          <a:stretch>
            <a:fillRect/>
          </a:stretch>
        </p:blipFill>
        <p:spPr bwMode="auto">
          <a:xfrm>
            <a:off x="1677194" y="4770418"/>
            <a:ext cx="5014912" cy="1532943"/>
          </a:xfrm>
          <a:prstGeom prst="rect">
            <a:avLst/>
          </a:prstGeom>
          <a:noFill/>
          <a:ln w="9525">
            <a:noFill/>
            <a:miter lim="800000"/>
            <a:headEnd/>
            <a:tailEnd/>
          </a:ln>
          <a:effectLst/>
        </p:spPr>
      </p:pic>
    </p:spTree>
    <p:extLst>
      <p:ext uri="{BB962C8B-B14F-4D97-AF65-F5344CB8AC3E}">
        <p14:creationId xmlns:p14="http://schemas.microsoft.com/office/powerpoint/2010/main" val="7431932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Find Broken links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TextBox 5"/>
          <p:cNvSpPr txBox="1"/>
          <p:nvPr/>
        </p:nvSpPr>
        <p:spPr>
          <a:xfrm>
            <a:off x="927100" y="762000"/>
            <a:ext cx="8019254" cy="5940088"/>
          </a:xfrm>
          <a:prstGeom prst="rect">
            <a:avLst/>
          </a:prstGeom>
          <a:noFill/>
        </p:spPr>
        <p:txBody>
          <a:bodyPr wrap="square" rtlCol="0">
            <a:spAutoFit/>
          </a:bodyPr>
          <a:lstStyle/>
          <a:p>
            <a:r>
              <a:rPr lang="en-IN" sz="2000" b="1" dirty="0" smtClean="0">
                <a:solidFill>
                  <a:srgbClr val="234E8F"/>
                </a:solidFill>
              </a:rPr>
              <a:t>How to check the Broken Links and images</a:t>
            </a:r>
          </a:p>
          <a:p>
            <a:r>
              <a:rPr lang="en-IN" i="1" dirty="0" smtClean="0">
                <a:solidFill>
                  <a:srgbClr val="234E8F"/>
                </a:solidFill>
              </a:rPr>
              <a:t>For checking the broken links, you will need to do the following steps.</a:t>
            </a:r>
          </a:p>
          <a:p>
            <a:r>
              <a:rPr lang="en-IN" i="1" dirty="0" smtClean="0">
                <a:solidFill>
                  <a:srgbClr val="234E8F"/>
                </a:solidFill>
              </a:rPr>
              <a:t>Collect all the links in the web page based on &lt;a&gt; tag.</a:t>
            </a:r>
          </a:p>
          <a:p>
            <a:r>
              <a:rPr lang="en-IN" i="1" dirty="0" smtClean="0">
                <a:solidFill>
                  <a:srgbClr val="234E8F"/>
                </a:solidFill>
              </a:rPr>
              <a:t>Send HTTP request for the link and read HTTP response code.</a:t>
            </a:r>
          </a:p>
          <a:p>
            <a:r>
              <a:rPr lang="en-IN" i="1" dirty="0" smtClean="0">
                <a:solidFill>
                  <a:srgbClr val="234E8F"/>
                </a:solidFill>
              </a:rPr>
              <a:t>Find out whether the link is valid or broken based on HTTP response code.</a:t>
            </a:r>
          </a:p>
          <a:p>
            <a:r>
              <a:rPr lang="en-IN" i="1" dirty="0" smtClean="0">
                <a:solidFill>
                  <a:srgbClr val="234E8F"/>
                </a:solidFill>
              </a:rPr>
              <a:t>Repeat this for all the links captured.</a:t>
            </a:r>
          </a:p>
          <a:p>
            <a:endParaRPr lang="en-IN" dirty="0" smtClean="0">
              <a:solidFill>
                <a:srgbClr val="234E8F"/>
              </a:solidFill>
            </a:endParaRPr>
          </a:p>
          <a:p>
            <a:r>
              <a:rPr lang="en-IN" dirty="0" smtClean="0">
                <a:solidFill>
                  <a:srgbClr val="234E8F"/>
                </a:solidFill>
              </a:rPr>
              <a:t>//Sample program</a:t>
            </a:r>
          </a:p>
          <a:p>
            <a:endParaRPr lang="en-IN" dirty="0" smtClean="0">
              <a:solidFill>
                <a:srgbClr val="234E8F"/>
              </a:solidFill>
            </a:endParaRPr>
          </a:p>
          <a:p>
            <a:r>
              <a:rPr lang="en-IN" dirty="0" smtClean="0">
                <a:solidFill>
                  <a:srgbClr val="234E8F"/>
                </a:solidFill>
              </a:rPr>
              <a:t>List&lt;</a:t>
            </a:r>
            <a:r>
              <a:rPr lang="en-IN" dirty="0" err="1" smtClean="0">
                <a:solidFill>
                  <a:srgbClr val="234E8F"/>
                </a:solidFill>
              </a:rPr>
              <a:t>WebElement</a:t>
            </a:r>
            <a:r>
              <a:rPr lang="en-IN" dirty="0" smtClean="0">
                <a:solidFill>
                  <a:srgbClr val="234E8F"/>
                </a:solidFill>
              </a:rPr>
              <a:t>&gt; links = </a:t>
            </a:r>
            <a:r>
              <a:rPr lang="en-IN" dirty="0" err="1" smtClean="0">
                <a:solidFill>
                  <a:srgbClr val="234E8F"/>
                </a:solidFill>
              </a:rPr>
              <a:t>driver.findElements</a:t>
            </a:r>
            <a:r>
              <a:rPr lang="en-IN" dirty="0" smtClean="0">
                <a:solidFill>
                  <a:srgbClr val="234E8F"/>
                </a:solidFill>
              </a:rPr>
              <a:t>(</a:t>
            </a:r>
            <a:r>
              <a:rPr lang="en-IN" dirty="0" err="1" smtClean="0">
                <a:solidFill>
                  <a:srgbClr val="234E8F"/>
                </a:solidFill>
              </a:rPr>
              <a:t>By.tagName</a:t>
            </a:r>
            <a:r>
              <a:rPr lang="en-IN" dirty="0" smtClean="0">
                <a:solidFill>
                  <a:srgbClr val="234E8F"/>
                </a:solidFill>
              </a:rPr>
              <a:t>("a"));</a:t>
            </a:r>
          </a:p>
          <a:p>
            <a:r>
              <a:rPr lang="en-IN" dirty="0" smtClean="0">
                <a:solidFill>
                  <a:srgbClr val="234E8F"/>
                </a:solidFill>
              </a:rPr>
              <a:t>        </a:t>
            </a:r>
          </a:p>
          <a:p>
            <a:r>
              <a:rPr lang="en-IN" dirty="0" smtClean="0">
                <a:solidFill>
                  <a:srgbClr val="234E8F"/>
                </a:solidFill>
              </a:rPr>
              <a:t>        </a:t>
            </a:r>
            <a:r>
              <a:rPr lang="en-IN" dirty="0" err="1" smtClean="0">
                <a:solidFill>
                  <a:srgbClr val="234E8F"/>
                </a:solidFill>
              </a:rPr>
              <a:t>Iterator</a:t>
            </a:r>
            <a:r>
              <a:rPr lang="en-IN" dirty="0" smtClean="0">
                <a:solidFill>
                  <a:srgbClr val="234E8F"/>
                </a:solidFill>
              </a:rPr>
              <a:t>&lt;</a:t>
            </a:r>
            <a:r>
              <a:rPr lang="en-IN" dirty="0" err="1" smtClean="0">
                <a:solidFill>
                  <a:srgbClr val="234E8F"/>
                </a:solidFill>
              </a:rPr>
              <a:t>WebElement</a:t>
            </a:r>
            <a:r>
              <a:rPr lang="en-IN" dirty="0" smtClean="0">
                <a:solidFill>
                  <a:srgbClr val="234E8F"/>
                </a:solidFill>
              </a:rPr>
              <a:t>&gt; it = </a:t>
            </a:r>
            <a:r>
              <a:rPr lang="en-IN" dirty="0" err="1" smtClean="0">
                <a:solidFill>
                  <a:srgbClr val="234E8F"/>
                </a:solidFill>
              </a:rPr>
              <a:t>links.iterator</a:t>
            </a:r>
            <a:r>
              <a:rPr lang="en-IN" dirty="0" smtClean="0">
                <a:solidFill>
                  <a:srgbClr val="234E8F"/>
                </a:solidFill>
              </a:rPr>
              <a:t>();</a:t>
            </a:r>
          </a:p>
          <a:p>
            <a:r>
              <a:rPr lang="en-IN" dirty="0" smtClean="0">
                <a:solidFill>
                  <a:srgbClr val="234E8F"/>
                </a:solidFill>
              </a:rPr>
              <a:t>        </a:t>
            </a:r>
          </a:p>
          <a:p>
            <a:r>
              <a:rPr lang="en-IN" dirty="0" smtClean="0">
                <a:solidFill>
                  <a:srgbClr val="234E8F"/>
                </a:solidFill>
              </a:rPr>
              <a:t>        while(</a:t>
            </a:r>
            <a:r>
              <a:rPr lang="en-IN" dirty="0" err="1" smtClean="0">
                <a:solidFill>
                  <a:srgbClr val="234E8F"/>
                </a:solidFill>
              </a:rPr>
              <a:t>it.hasNext</a:t>
            </a:r>
            <a:r>
              <a:rPr lang="en-IN" dirty="0" smtClean="0">
                <a:solidFill>
                  <a:srgbClr val="234E8F"/>
                </a:solidFill>
              </a:rPr>
              <a:t>()){</a:t>
            </a:r>
          </a:p>
          <a:p>
            <a:r>
              <a:rPr lang="en-IN" dirty="0" smtClean="0">
                <a:solidFill>
                  <a:srgbClr val="234E8F"/>
                </a:solidFill>
              </a:rPr>
              <a:t>            url = </a:t>
            </a:r>
            <a:r>
              <a:rPr lang="en-IN" dirty="0" err="1" smtClean="0">
                <a:solidFill>
                  <a:srgbClr val="234E8F"/>
                </a:solidFill>
              </a:rPr>
              <a:t>it.next</a:t>
            </a:r>
            <a:r>
              <a:rPr lang="en-IN" dirty="0" smtClean="0">
                <a:solidFill>
                  <a:srgbClr val="234E8F"/>
                </a:solidFill>
              </a:rPr>
              <a:t>().</a:t>
            </a:r>
            <a:r>
              <a:rPr lang="en-IN" dirty="0" err="1" smtClean="0">
                <a:solidFill>
                  <a:srgbClr val="234E8F"/>
                </a:solidFill>
              </a:rPr>
              <a:t>getAttribute</a:t>
            </a:r>
            <a:r>
              <a:rPr lang="en-IN" dirty="0" smtClean="0">
                <a:solidFill>
                  <a:srgbClr val="234E8F"/>
                </a:solidFill>
              </a:rPr>
              <a:t>("</a:t>
            </a:r>
            <a:r>
              <a:rPr lang="en-IN" dirty="0" err="1" smtClean="0">
                <a:solidFill>
                  <a:srgbClr val="234E8F"/>
                </a:solidFill>
              </a:rPr>
              <a:t>href</a:t>
            </a:r>
            <a:r>
              <a:rPr lang="en-IN" dirty="0" smtClean="0">
                <a:solidFill>
                  <a:srgbClr val="234E8F"/>
                </a:solidFill>
              </a:rPr>
              <a:t>");</a:t>
            </a:r>
          </a:p>
          <a:p>
            <a:r>
              <a:rPr lang="en-IN" dirty="0" smtClean="0">
                <a:solidFill>
                  <a:srgbClr val="234E8F"/>
                </a:solidFill>
              </a:rPr>
              <a:t>              </a:t>
            </a:r>
            <a:r>
              <a:rPr lang="en-IN" dirty="0" err="1" smtClean="0">
                <a:solidFill>
                  <a:srgbClr val="234E8F"/>
                </a:solidFill>
              </a:rPr>
              <a:t>System.out.println</a:t>
            </a:r>
            <a:r>
              <a:rPr lang="en-IN" dirty="0" smtClean="0">
                <a:solidFill>
                  <a:srgbClr val="234E8F"/>
                </a:solidFill>
              </a:rPr>
              <a:t>(</a:t>
            </a:r>
            <a:r>
              <a:rPr lang="en-IN" dirty="0" err="1" smtClean="0">
                <a:solidFill>
                  <a:srgbClr val="234E8F"/>
                </a:solidFill>
              </a:rPr>
              <a:t>url</a:t>
            </a:r>
            <a:r>
              <a:rPr lang="en-IN" dirty="0" smtClean="0">
                <a:solidFill>
                  <a:srgbClr val="234E8F"/>
                </a:solidFill>
              </a:rPr>
              <a:t>);</a:t>
            </a:r>
          </a:p>
          <a:p>
            <a:r>
              <a:rPr lang="en-IN" dirty="0" smtClean="0">
                <a:solidFill>
                  <a:srgbClr val="234E8F"/>
                </a:solidFill>
              </a:rPr>
              <a:t>                 if(</a:t>
            </a:r>
            <a:r>
              <a:rPr lang="en-IN" dirty="0" err="1" smtClean="0">
                <a:solidFill>
                  <a:srgbClr val="234E8F"/>
                </a:solidFill>
              </a:rPr>
              <a:t>url</a:t>
            </a:r>
            <a:r>
              <a:rPr lang="en-IN" dirty="0" smtClean="0">
                <a:solidFill>
                  <a:srgbClr val="234E8F"/>
                </a:solidFill>
              </a:rPr>
              <a:t> == null || </a:t>
            </a:r>
            <a:r>
              <a:rPr lang="en-IN" dirty="0" err="1" smtClean="0">
                <a:solidFill>
                  <a:srgbClr val="234E8F"/>
                </a:solidFill>
              </a:rPr>
              <a:t>url.isEmpty</a:t>
            </a:r>
            <a:r>
              <a:rPr lang="en-IN" dirty="0" smtClean="0">
                <a:solidFill>
                  <a:srgbClr val="234E8F"/>
                </a:solidFill>
              </a:rPr>
              <a:t>()){</a:t>
            </a:r>
          </a:p>
          <a:p>
            <a:r>
              <a:rPr lang="en-IN" dirty="0" err="1" smtClean="0">
                <a:solidFill>
                  <a:srgbClr val="234E8F"/>
                </a:solidFill>
              </a:rPr>
              <a:t>System.out.println</a:t>
            </a:r>
            <a:r>
              <a:rPr lang="en-IN" dirty="0" smtClean="0">
                <a:solidFill>
                  <a:srgbClr val="234E8F"/>
                </a:solidFill>
              </a:rPr>
              <a:t>("URL is either not configured for anchor tag or it is empty");</a:t>
            </a:r>
          </a:p>
          <a:p>
            <a:r>
              <a:rPr lang="en-IN" dirty="0" smtClean="0">
                <a:solidFill>
                  <a:srgbClr val="234E8F"/>
                </a:solidFill>
              </a:rPr>
              <a:t>                continue;            }</a:t>
            </a:r>
          </a:p>
          <a:p>
            <a:endParaRPr lang="en-IN" dirty="0" smtClean="0">
              <a:solidFill>
                <a:srgbClr val="234E8F"/>
              </a:solidFill>
            </a:endParaRPr>
          </a:p>
          <a:p>
            <a:endParaRPr lang="en-IN" i="1" dirty="0">
              <a:solidFill>
                <a:srgbClr val="234E8F"/>
              </a:solidFill>
            </a:endParaRPr>
          </a:p>
        </p:txBody>
      </p:sp>
    </p:spTree>
    <p:extLst>
      <p:ext uri="{BB962C8B-B14F-4D97-AF65-F5344CB8AC3E}">
        <p14:creationId xmlns:p14="http://schemas.microsoft.com/office/powerpoint/2010/main" val="36023265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Find Broken links	</a:t>
            </a:r>
            <a:endParaRPr lang="en-IN" dirty="0"/>
          </a:p>
        </p:txBody>
      </p:sp>
      <p:sp>
        <p:nvSpPr>
          <p:cNvPr id="6" name="TextBox 5"/>
          <p:cNvSpPr txBox="1"/>
          <p:nvPr/>
        </p:nvSpPr>
        <p:spPr>
          <a:xfrm>
            <a:off x="927100" y="692960"/>
            <a:ext cx="7454900" cy="5632311"/>
          </a:xfrm>
          <a:prstGeom prst="rect">
            <a:avLst/>
          </a:prstGeom>
          <a:noFill/>
        </p:spPr>
        <p:txBody>
          <a:bodyPr wrap="square" rtlCol="0">
            <a:spAutoFit/>
          </a:bodyPr>
          <a:lstStyle/>
          <a:p>
            <a:r>
              <a:rPr lang="en-IN" i="1" dirty="0" smtClean="0">
                <a:solidFill>
                  <a:srgbClr val="123761"/>
                </a:solidFill>
              </a:rPr>
              <a:t>if(!</a:t>
            </a:r>
            <a:r>
              <a:rPr lang="en-IN" i="1" dirty="0" err="1" smtClean="0">
                <a:solidFill>
                  <a:srgbClr val="123761"/>
                </a:solidFill>
              </a:rPr>
              <a:t>url.startsWith</a:t>
            </a:r>
            <a:r>
              <a:rPr lang="en-IN" i="1" dirty="0" smtClean="0">
                <a:solidFill>
                  <a:srgbClr val="123761"/>
                </a:solidFill>
              </a:rPr>
              <a:t>(</a:t>
            </a:r>
            <a:r>
              <a:rPr lang="en-IN" i="1" dirty="0" err="1" smtClean="0">
                <a:solidFill>
                  <a:srgbClr val="123761"/>
                </a:solidFill>
              </a:rPr>
              <a:t>homePage</a:t>
            </a:r>
            <a:r>
              <a:rPr lang="en-IN" i="1" dirty="0" smtClean="0">
                <a:solidFill>
                  <a:srgbClr val="123761"/>
                </a:solidFill>
              </a:rPr>
              <a:t>)){</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URL belongs to another domain, skipping it.");</a:t>
            </a:r>
          </a:p>
          <a:p>
            <a:r>
              <a:rPr lang="en-IN" i="1" dirty="0" smtClean="0">
                <a:solidFill>
                  <a:srgbClr val="123761"/>
                </a:solidFill>
              </a:rPr>
              <a:t>                continue;</a:t>
            </a:r>
          </a:p>
          <a:p>
            <a:r>
              <a:rPr lang="en-IN" i="1" dirty="0" smtClean="0">
                <a:solidFill>
                  <a:srgbClr val="123761"/>
                </a:solidFill>
              </a:rPr>
              <a:t>            }</a:t>
            </a:r>
          </a:p>
          <a:p>
            <a:r>
              <a:rPr lang="en-IN" i="1" dirty="0" smtClean="0">
                <a:solidFill>
                  <a:srgbClr val="123761"/>
                </a:solidFill>
              </a:rPr>
              <a:t>         try {</a:t>
            </a:r>
          </a:p>
          <a:p>
            <a:r>
              <a:rPr lang="en-IN" i="1" dirty="0" smtClean="0">
                <a:solidFill>
                  <a:srgbClr val="123761"/>
                </a:solidFill>
              </a:rPr>
              <a:t>                </a:t>
            </a:r>
            <a:r>
              <a:rPr lang="en-IN" i="1" dirty="0" err="1" smtClean="0">
                <a:solidFill>
                  <a:srgbClr val="123761"/>
                </a:solidFill>
              </a:rPr>
              <a:t>huc</a:t>
            </a:r>
            <a:r>
              <a:rPr lang="en-IN" i="1" dirty="0" smtClean="0">
                <a:solidFill>
                  <a:srgbClr val="123761"/>
                </a:solidFill>
              </a:rPr>
              <a:t> = (</a:t>
            </a:r>
            <a:r>
              <a:rPr lang="en-IN" i="1" dirty="0" err="1" smtClean="0">
                <a:solidFill>
                  <a:srgbClr val="123761"/>
                </a:solidFill>
              </a:rPr>
              <a:t>HttpURLConnection</a:t>
            </a:r>
            <a:r>
              <a:rPr lang="en-IN" i="1" dirty="0" smtClean="0">
                <a:solidFill>
                  <a:srgbClr val="123761"/>
                </a:solidFill>
              </a:rPr>
              <a:t>)(new URL(</a:t>
            </a:r>
            <a:r>
              <a:rPr lang="en-IN" i="1" dirty="0" err="1" smtClean="0">
                <a:solidFill>
                  <a:srgbClr val="123761"/>
                </a:solidFill>
              </a:rPr>
              <a:t>url</a:t>
            </a:r>
            <a:r>
              <a:rPr lang="en-IN" i="1" dirty="0" smtClean="0">
                <a:solidFill>
                  <a:srgbClr val="123761"/>
                </a:solidFill>
              </a:rPr>
              <a:t>).</a:t>
            </a:r>
            <a:r>
              <a:rPr lang="en-IN" i="1" dirty="0" err="1" smtClean="0">
                <a:solidFill>
                  <a:srgbClr val="123761"/>
                </a:solidFill>
              </a:rPr>
              <a:t>openConnection</a:t>
            </a:r>
            <a:r>
              <a:rPr lang="en-IN" i="1" dirty="0" smtClean="0">
                <a:solidFill>
                  <a:srgbClr val="123761"/>
                </a:solidFill>
              </a:rPr>
              <a:t>());</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huc.setRequestMethod</a:t>
            </a:r>
            <a:r>
              <a:rPr lang="en-IN" i="1" dirty="0" smtClean="0">
                <a:solidFill>
                  <a:srgbClr val="123761"/>
                </a:solidFill>
              </a:rPr>
              <a:t>("HEAD");</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huc.connect</a:t>
            </a:r>
            <a:r>
              <a:rPr lang="en-IN" i="1" dirty="0" smtClean="0">
                <a:solidFill>
                  <a:srgbClr val="123761"/>
                </a:solidFill>
              </a:rPr>
              <a:t>();</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respCode</a:t>
            </a:r>
            <a:r>
              <a:rPr lang="en-IN" i="1" dirty="0" smtClean="0">
                <a:solidFill>
                  <a:srgbClr val="123761"/>
                </a:solidFill>
              </a:rPr>
              <a:t> = </a:t>
            </a:r>
            <a:r>
              <a:rPr lang="en-IN" i="1" dirty="0" err="1" smtClean="0">
                <a:solidFill>
                  <a:srgbClr val="123761"/>
                </a:solidFill>
              </a:rPr>
              <a:t>huc.getResponseCode</a:t>
            </a:r>
            <a:r>
              <a:rPr lang="en-IN" i="1" dirty="0" smtClean="0">
                <a:solidFill>
                  <a:srgbClr val="123761"/>
                </a:solidFill>
              </a:rPr>
              <a:t>();</a:t>
            </a:r>
          </a:p>
          <a:p>
            <a:r>
              <a:rPr lang="en-IN" i="1" dirty="0" smtClean="0">
                <a:solidFill>
                  <a:srgbClr val="123761"/>
                </a:solidFill>
              </a:rPr>
              <a:t>                if(</a:t>
            </a:r>
            <a:r>
              <a:rPr lang="en-IN" i="1" dirty="0" err="1" smtClean="0">
                <a:solidFill>
                  <a:srgbClr val="123761"/>
                </a:solidFill>
              </a:rPr>
              <a:t>respCode</a:t>
            </a:r>
            <a:r>
              <a:rPr lang="en-IN" i="1" dirty="0" smtClean="0">
                <a:solidFill>
                  <a:srgbClr val="123761"/>
                </a:solidFill>
              </a:rPr>
              <a:t> &gt;= 400){</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a:t>
            </a:r>
            <a:r>
              <a:rPr lang="en-IN" i="1" dirty="0" err="1" smtClean="0">
                <a:solidFill>
                  <a:srgbClr val="123761"/>
                </a:solidFill>
              </a:rPr>
              <a:t>url</a:t>
            </a:r>
            <a:r>
              <a:rPr lang="en-IN" i="1" dirty="0" smtClean="0">
                <a:solidFill>
                  <a:srgbClr val="123761"/>
                </a:solidFill>
              </a:rPr>
              <a:t>+" is a broken link");</a:t>
            </a:r>
          </a:p>
          <a:p>
            <a:r>
              <a:rPr lang="en-IN" i="1" dirty="0" smtClean="0">
                <a:solidFill>
                  <a:srgbClr val="123761"/>
                </a:solidFill>
              </a:rPr>
              <a:t>                }</a:t>
            </a:r>
          </a:p>
          <a:p>
            <a:r>
              <a:rPr lang="en-IN" i="1" dirty="0" smtClean="0">
                <a:solidFill>
                  <a:srgbClr val="123761"/>
                </a:solidFill>
              </a:rPr>
              <a:t>                else{</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a:t>
            </a:r>
            <a:r>
              <a:rPr lang="en-IN" i="1" dirty="0" err="1" smtClean="0">
                <a:solidFill>
                  <a:srgbClr val="123761"/>
                </a:solidFill>
              </a:rPr>
              <a:t>url</a:t>
            </a:r>
            <a:r>
              <a:rPr lang="en-IN" i="1" dirty="0" smtClean="0">
                <a:solidFill>
                  <a:srgbClr val="123761"/>
                </a:solidFill>
              </a:rPr>
              <a:t>+" is a valid link");</a:t>
            </a:r>
          </a:p>
          <a:p>
            <a:r>
              <a:rPr lang="en-IN" i="1" dirty="0" smtClean="0">
                <a:solidFill>
                  <a:srgbClr val="123761"/>
                </a:solidFill>
              </a:rPr>
              <a:t>                }} catch (</a:t>
            </a:r>
            <a:r>
              <a:rPr lang="en-IN" i="1" dirty="0" err="1" smtClean="0">
                <a:solidFill>
                  <a:srgbClr val="123761"/>
                </a:solidFill>
              </a:rPr>
              <a:t>MalformedURLException</a:t>
            </a:r>
            <a:r>
              <a:rPr lang="en-IN" i="1" dirty="0" smtClean="0">
                <a:solidFill>
                  <a:srgbClr val="123761"/>
                </a:solidFill>
              </a:rPr>
              <a:t> e) {</a:t>
            </a:r>
          </a:p>
          <a:p>
            <a:r>
              <a:rPr lang="en-IN" i="1" dirty="0" smtClean="0">
                <a:solidFill>
                  <a:srgbClr val="123761"/>
                </a:solidFill>
              </a:rPr>
              <a:t>                // TODO Auto-generated catch block</a:t>
            </a:r>
          </a:p>
          <a:p>
            <a:r>
              <a:rPr lang="en-IN" i="1" dirty="0" smtClean="0">
                <a:solidFill>
                  <a:srgbClr val="123761"/>
                </a:solidFill>
              </a:rPr>
              <a:t>                </a:t>
            </a:r>
            <a:r>
              <a:rPr lang="en-IN" i="1" dirty="0" err="1" smtClean="0">
                <a:solidFill>
                  <a:srgbClr val="123761"/>
                </a:solidFill>
              </a:rPr>
              <a:t>e.printStackTrace</a:t>
            </a:r>
            <a:r>
              <a:rPr lang="en-IN" i="1" dirty="0" smtClean="0">
                <a:solidFill>
                  <a:srgbClr val="123761"/>
                </a:solidFill>
              </a:rPr>
              <a:t>();} }}</a:t>
            </a:r>
            <a:endParaRPr lang="en-IN" i="1" dirty="0">
              <a:solidFill>
                <a:srgbClr val="123761"/>
              </a:solidFill>
            </a:endParaRPr>
          </a:p>
        </p:txBody>
      </p:sp>
    </p:spTree>
    <p:extLst>
      <p:ext uri="{BB962C8B-B14F-4D97-AF65-F5344CB8AC3E}">
        <p14:creationId xmlns:p14="http://schemas.microsoft.com/office/powerpoint/2010/main" val="24009352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042" y="185944"/>
            <a:ext cx="6014441" cy="346249"/>
          </a:xfrm>
        </p:spPr>
        <p:txBody>
          <a:bodyPr/>
          <a:lstStyle/>
          <a:p>
            <a:r>
              <a:rPr lang="en-IN" dirty="0" smtClean="0"/>
              <a:t>Assertion in Selenium WebDriver</a:t>
            </a:r>
            <a:endParaRPr lang="en-IN" dirty="0"/>
          </a:p>
        </p:txBody>
      </p:sp>
      <p:sp>
        <p:nvSpPr>
          <p:cNvPr id="12" name="Rectangle 11"/>
          <p:cNvSpPr/>
          <p:nvPr/>
        </p:nvSpPr>
        <p:spPr>
          <a:xfrm>
            <a:off x="768042" y="710236"/>
            <a:ext cx="6405490" cy="5909310"/>
          </a:xfrm>
          <a:prstGeom prst="rect">
            <a:avLst/>
          </a:prstGeom>
        </p:spPr>
        <p:txBody>
          <a:bodyPr wrap="square">
            <a:spAutoFit/>
          </a:bodyPr>
          <a:lstStyle/>
          <a:p>
            <a:r>
              <a:rPr lang="en-IN" b="1" i="1" dirty="0" smtClean="0">
                <a:solidFill>
                  <a:schemeClr val="tx2"/>
                </a:solidFill>
              </a:rPr>
              <a:t>Hard Assertion in Webdriver using TestNg</a:t>
            </a:r>
          </a:p>
          <a:p>
            <a:endParaRPr lang="en-IN" b="1" dirty="0" smtClean="0">
              <a:solidFill>
                <a:schemeClr val="tx2"/>
              </a:solidFill>
            </a:endParaRPr>
          </a:p>
          <a:p>
            <a:r>
              <a:rPr lang="en-IN" dirty="0" smtClean="0">
                <a:solidFill>
                  <a:schemeClr val="tx2"/>
                </a:solidFill>
              </a:rPr>
              <a:t>A hard assert throw AssertException immediately after a test fails and the test is marked as failed. Perhaps test suite continues with next @Test annotation. </a:t>
            </a:r>
          </a:p>
          <a:p>
            <a:endParaRPr lang="en-IN" dirty="0" smtClean="0">
              <a:solidFill>
                <a:schemeClr val="tx2"/>
              </a:solidFill>
            </a:endParaRPr>
          </a:p>
          <a:p>
            <a:r>
              <a:rPr lang="en-IN" i="1" dirty="0" smtClean="0">
                <a:solidFill>
                  <a:schemeClr val="tx2"/>
                </a:solidFill>
              </a:rPr>
              <a:t>A hard assertion can be of following types:</a:t>
            </a:r>
          </a:p>
          <a:p>
            <a:endParaRPr lang="en-IN" dirty="0" smtClean="0">
              <a:solidFill>
                <a:schemeClr val="tx2"/>
              </a:solidFill>
            </a:endParaRPr>
          </a:p>
          <a:p>
            <a:r>
              <a:rPr lang="en-IN" i="1" dirty="0" err="1" smtClean="0">
                <a:solidFill>
                  <a:schemeClr val="tx2"/>
                </a:solidFill>
              </a:rPr>
              <a:t>assertEquals</a:t>
            </a:r>
            <a:r>
              <a:rPr lang="en-IN" i="1" dirty="0" smtClean="0">
                <a:solidFill>
                  <a:schemeClr val="tx2"/>
                </a:solidFill>
              </a:rPr>
              <a:t> - </a:t>
            </a:r>
            <a:r>
              <a:rPr lang="en-IN" b="1" dirty="0" err="1" smtClean="0">
                <a:solidFill>
                  <a:schemeClr val="tx2"/>
                </a:solidFill>
              </a:rPr>
              <a:t>Assert.assertEquals</a:t>
            </a:r>
            <a:r>
              <a:rPr lang="en-IN" b="1" dirty="0" smtClean="0">
                <a:solidFill>
                  <a:schemeClr val="tx2"/>
                </a:solidFill>
              </a:rPr>
              <a:t>(</a:t>
            </a:r>
            <a:r>
              <a:rPr lang="en-IN" b="1" dirty="0" err="1" smtClean="0">
                <a:solidFill>
                  <a:schemeClr val="tx2"/>
                </a:solidFill>
              </a:rPr>
              <a:t>actual,expected</a:t>
            </a:r>
            <a:r>
              <a:rPr lang="en-IN" b="1" dirty="0" smtClean="0">
                <a:solidFill>
                  <a:schemeClr val="tx2"/>
                </a:solidFill>
              </a:rPr>
              <a:t>);</a:t>
            </a:r>
          </a:p>
          <a:p>
            <a:endParaRPr lang="en-IN" i="1" dirty="0" smtClean="0">
              <a:solidFill>
                <a:schemeClr val="tx2"/>
              </a:solidFill>
            </a:endParaRPr>
          </a:p>
          <a:p>
            <a:r>
              <a:rPr lang="en-IN" i="1" dirty="0" err="1" smtClean="0">
                <a:solidFill>
                  <a:schemeClr val="tx2"/>
                </a:solidFill>
              </a:rPr>
              <a:t>assertNotEquals</a:t>
            </a:r>
            <a:r>
              <a:rPr lang="en-IN" i="1" dirty="0" smtClean="0">
                <a:solidFill>
                  <a:schemeClr val="tx2"/>
                </a:solidFill>
              </a:rPr>
              <a:t> - </a:t>
            </a:r>
            <a:r>
              <a:rPr lang="en-IN" b="1" dirty="0" err="1" smtClean="0">
                <a:solidFill>
                  <a:schemeClr val="tx2"/>
                </a:solidFill>
              </a:rPr>
              <a:t>Assert.assertNotEquals</a:t>
            </a:r>
            <a:r>
              <a:rPr lang="en-IN" b="1" dirty="0" smtClean="0">
                <a:solidFill>
                  <a:schemeClr val="tx2"/>
                </a:solidFill>
              </a:rPr>
              <a:t>(</a:t>
            </a:r>
            <a:r>
              <a:rPr lang="en-IN" b="1" dirty="0" err="1" smtClean="0">
                <a:solidFill>
                  <a:schemeClr val="tx2"/>
                </a:solidFill>
              </a:rPr>
              <a:t>actual,expected,Message</a:t>
            </a:r>
            <a:r>
              <a:rPr lang="en-IN" b="1" dirty="0" smtClean="0">
                <a:solidFill>
                  <a:schemeClr val="tx2"/>
                </a:solidFill>
              </a:rPr>
              <a:t>);</a:t>
            </a:r>
          </a:p>
          <a:p>
            <a:endParaRPr lang="en-IN" i="1" dirty="0" smtClean="0">
              <a:solidFill>
                <a:schemeClr val="tx2"/>
              </a:solidFill>
            </a:endParaRPr>
          </a:p>
          <a:p>
            <a:r>
              <a:rPr lang="en-IN" i="1" dirty="0" err="1" smtClean="0">
                <a:solidFill>
                  <a:schemeClr val="tx2"/>
                </a:solidFill>
              </a:rPr>
              <a:t>assertTrue</a:t>
            </a:r>
            <a:r>
              <a:rPr lang="en-IN" i="1" dirty="0" smtClean="0">
                <a:solidFill>
                  <a:schemeClr val="tx2"/>
                </a:solidFill>
              </a:rPr>
              <a:t> - </a:t>
            </a:r>
            <a:r>
              <a:rPr lang="en-IN" b="1" dirty="0" err="1" smtClean="0">
                <a:solidFill>
                  <a:schemeClr val="tx2"/>
                </a:solidFill>
              </a:rPr>
              <a:t>Assert.assertTrue</a:t>
            </a:r>
            <a:r>
              <a:rPr lang="en-IN" b="1" dirty="0" smtClean="0">
                <a:solidFill>
                  <a:schemeClr val="tx2"/>
                </a:solidFill>
              </a:rPr>
              <a:t>(condition);</a:t>
            </a:r>
          </a:p>
          <a:p>
            <a:endParaRPr lang="en-IN" i="1" dirty="0" smtClean="0">
              <a:solidFill>
                <a:schemeClr val="tx2"/>
              </a:solidFill>
            </a:endParaRPr>
          </a:p>
          <a:p>
            <a:r>
              <a:rPr lang="en-IN" i="1" dirty="0" err="1" smtClean="0">
                <a:solidFill>
                  <a:schemeClr val="tx2"/>
                </a:solidFill>
              </a:rPr>
              <a:t>assertFalse</a:t>
            </a:r>
            <a:r>
              <a:rPr lang="en-IN" i="1" dirty="0" smtClean="0">
                <a:solidFill>
                  <a:schemeClr val="tx2"/>
                </a:solidFill>
              </a:rPr>
              <a:t> - </a:t>
            </a:r>
            <a:r>
              <a:rPr lang="en-IN" b="1" dirty="0" err="1" smtClean="0">
                <a:solidFill>
                  <a:schemeClr val="tx2"/>
                </a:solidFill>
              </a:rPr>
              <a:t>Assert.assertFalse</a:t>
            </a:r>
            <a:r>
              <a:rPr lang="en-IN" b="1" dirty="0" smtClean="0">
                <a:solidFill>
                  <a:schemeClr val="tx2"/>
                </a:solidFill>
              </a:rPr>
              <a:t>(condition);</a:t>
            </a:r>
          </a:p>
          <a:p>
            <a:endParaRPr lang="en-IN" i="1" dirty="0" smtClean="0">
              <a:solidFill>
                <a:schemeClr val="tx2"/>
              </a:solidFill>
            </a:endParaRPr>
          </a:p>
          <a:p>
            <a:r>
              <a:rPr lang="en-IN" i="1" dirty="0" err="1" smtClean="0">
                <a:solidFill>
                  <a:schemeClr val="tx2"/>
                </a:solidFill>
              </a:rPr>
              <a:t>assertNull</a:t>
            </a:r>
            <a:r>
              <a:rPr lang="en-IN" i="1" dirty="0" smtClean="0">
                <a:solidFill>
                  <a:schemeClr val="tx2"/>
                </a:solidFill>
              </a:rPr>
              <a:t> - </a:t>
            </a:r>
            <a:r>
              <a:rPr lang="en-IN" b="1" dirty="0" err="1" smtClean="0">
                <a:solidFill>
                  <a:schemeClr val="tx2"/>
                </a:solidFill>
              </a:rPr>
              <a:t>Assert.assertNull</a:t>
            </a:r>
            <a:r>
              <a:rPr lang="en-IN" b="1" dirty="0" smtClean="0">
                <a:solidFill>
                  <a:schemeClr val="tx2"/>
                </a:solidFill>
              </a:rPr>
              <a:t>(object);</a:t>
            </a:r>
          </a:p>
          <a:p>
            <a:endParaRPr lang="en-IN" i="1" dirty="0" smtClean="0">
              <a:solidFill>
                <a:schemeClr val="tx2"/>
              </a:solidFill>
            </a:endParaRPr>
          </a:p>
          <a:p>
            <a:r>
              <a:rPr lang="en-IN" i="1" dirty="0" err="1" smtClean="0">
                <a:solidFill>
                  <a:schemeClr val="tx2"/>
                </a:solidFill>
              </a:rPr>
              <a:t>assertNotNull</a:t>
            </a:r>
            <a:r>
              <a:rPr lang="en-IN" i="1" dirty="0" smtClean="0">
                <a:solidFill>
                  <a:schemeClr val="tx2"/>
                </a:solidFill>
              </a:rPr>
              <a:t> - </a:t>
            </a:r>
            <a:r>
              <a:rPr lang="en-IN" b="1" dirty="0" err="1" smtClean="0">
                <a:solidFill>
                  <a:schemeClr val="tx2"/>
                </a:solidFill>
              </a:rPr>
              <a:t>Assert.assertNotNull</a:t>
            </a:r>
            <a:r>
              <a:rPr lang="en-IN" b="1" dirty="0" smtClean="0">
                <a:solidFill>
                  <a:schemeClr val="tx2"/>
                </a:solidFill>
              </a:rPr>
              <a:t>(object);</a:t>
            </a:r>
            <a:endParaRPr lang="en-IN" i="1" dirty="0" smtClean="0">
              <a:solidFill>
                <a:schemeClr val="tx2"/>
              </a:solidFill>
            </a:endParaRPr>
          </a:p>
          <a:p>
            <a:endParaRPr lang="en-IN" b="1" dirty="0">
              <a:solidFill>
                <a:schemeClr val="tx2"/>
              </a:solidFill>
            </a:endParaRPr>
          </a:p>
        </p:txBody>
      </p:sp>
    </p:spTree>
    <p:extLst>
      <p:ext uri="{BB962C8B-B14F-4D97-AF65-F5344CB8AC3E}">
        <p14:creationId xmlns:p14="http://schemas.microsoft.com/office/powerpoint/2010/main" val="42446378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1CF904-F9CD-4C52-B4D9-EB3B1DA4A0FF}">
  <ds:schemaRefs>
    <ds:schemaRef ds:uri="http://purl.org/dc/terms/"/>
    <ds:schemaRef ds:uri="http://schemas.microsoft.com/office/2006/documentManagement/types"/>
    <ds:schemaRef ds:uri="http://schemas.openxmlformats.org/package/2006/metadata/core-properties"/>
    <ds:schemaRef ds:uri="http://www.w3.org/XML/1998/namespace"/>
    <ds:schemaRef ds:uri="http://purl.org/dc/dcmitype/"/>
    <ds:schemaRef ds:uri="http://purl.org/dc/elements/1.1/"/>
    <ds:schemaRef ds:uri="http://schemas.microsoft.com/office/infopath/2007/PartnerControls"/>
    <ds:schemaRef ds:uri="87287f1f-33a4-4e37-8705-81f7e9cb3234"/>
    <ds:schemaRef ds:uri="http://schemas.microsoft.com/office/2006/metadata/properties"/>
  </ds:schemaRefs>
</ds:datastoreItem>
</file>

<file path=customXml/itemProps3.xml><?xml version="1.0" encoding="utf-8"?>
<ds:datastoreItem xmlns:ds="http://schemas.openxmlformats.org/officeDocument/2006/customXml" ds:itemID="{5CACE08B-0654-429F-9703-6D1CBE5F5F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879</TotalTime>
  <Words>1196</Words>
  <Application>Microsoft Office PowerPoint</Application>
  <PresentationFormat>On-screen Show (4:3)</PresentationFormat>
  <Paragraphs>218</Paragraphs>
  <Slides>20</Slides>
  <Notes>1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0</vt:i4>
      </vt:variant>
    </vt:vector>
  </HeadingPairs>
  <TitlesOfParts>
    <vt:vector size="31" baseType="lpstr">
      <vt:lpstr>MS PGothic</vt:lpstr>
      <vt:lpstr>MS PGothic</vt:lpstr>
      <vt:lpstr>Arial</vt:lpstr>
      <vt:lpstr>Calibri</vt:lpstr>
      <vt:lpstr>Century Gothic</vt:lpstr>
      <vt:lpstr>COUTURE Bold</vt:lpstr>
      <vt:lpstr>Lucida Grande</vt:lpstr>
      <vt:lpstr>Symbol</vt:lpstr>
      <vt:lpstr>Times New Roman</vt:lpstr>
      <vt:lpstr>Wingdings</vt:lpstr>
      <vt:lpstr>1_Maveric Template</vt:lpstr>
      <vt:lpstr>Fresher Learning Program</vt:lpstr>
      <vt:lpstr>Scroll up and down in Selenium Webdriver </vt:lpstr>
      <vt:lpstr>Scroll up and down in Selenium Webdriver </vt:lpstr>
      <vt:lpstr>ToolTip Verification</vt:lpstr>
      <vt:lpstr>ToolTip verification </vt:lpstr>
      <vt:lpstr>Tool Tip verification </vt:lpstr>
      <vt:lpstr>Find Broken links </vt:lpstr>
      <vt:lpstr>Find Broken links </vt:lpstr>
      <vt:lpstr>Assertion in Selenium WebDriver</vt:lpstr>
      <vt:lpstr>Assertion in Selenium WebDriver</vt:lpstr>
      <vt:lpstr>Assertion Exercises</vt:lpstr>
      <vt:lpstr>Page Factory</vt:lpstr>
      <vt:lpstr>Page Factory</vt:lpstr>
      <vt:lpstr>Page Factory - Annotation</vt:lpstr>
      <vt:lpstr>AjaxElementLocatorFactory</vt:lpstr>
      <vt:lpstr>Page Factory - Summary</vt:lpstr>
      <vt:lpstr>Page Factory Exercises</vt:lpstr>
      <vt:lpstr>Exercis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0</cp:revision>
  <dcterms:created xsi:type="dcterms:W3CDTF">2017-06-16T07:00:12Z</dcterms:created>
  <dcterms:modified xsi:type="dcterms:W3CDTF">2019-06-20T12:2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